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7" r:id="rId4"/>
  </p:sldMasterIdLst>
  <p:notesMasterIdLst>
    <p:notesMasterId r:id="rId28"/>
  </p:notesMasterIdLst>
  <p:handoutMasterIdLst>
    <p:handoutMasterId r:id="rId29"/>
  </p:handoutMasterIdLst>
  <p:sldIdLst>
    <p:sldId id="736" r:id="rId5"/>
    <p:sldId id="260" r:id="rId6"/>
    <p:sldId id="379" r:id="rId7"/>
    <p:sldId id="737" r:id="rId8"/>
    <p:sldId id="738" r:id="rId9"/>
    <p:sldId id="763" r:id="rId10"/>
    <p:sldId id="750" r:id="rId11"/>
    <p:sldId id="751" r:id="rId12"/>
    <p:sldId id="752" r:id="rId13"/>
    <p:sldId id="722" r:id="rId14"/>
    <p:sldId id="649" r:id="rId15"/>
    <p:sldId id="435" r:id="rId16"/>
    <p:sldId id="436" r:id="rId17"/>
    <p:sldId id="759" r:id="rId18"/>
    <p:sldId id="756" r:id="rId19"/>
    <p:sldId id="754" r:id="rId20"/>
    <p:sldId id="757" r:id="rId21"/>
    <p:sldId id="758" r:id="rId22"/>
    <p:sldId id="760" r:id="rId23"/>
    <p:sldId id="761" r:id="rId24"/>
    <p:sldId id="753" r:id="rId25"/>
    <p:sldId id="742" r:id="rId26"/>
    <p:sldId id="748" r:id="rId27"/>
  </p:sldIdLst>
  <p:sldSz cx="12192000" cy="6858000"/>
  <p:notesSz cx="9296400" cy="70104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pos="1512" userDrawn="1">
          <p15:clr>
            <a:srgbClr val="A4A3A4"/>
          </p15:clr>
        </p15:guide>
        <p15:guide id="10" pos="6144" userDrawn="1">
          <p15:clr>
            <a:srgbClr val="A4A3A4"/>
          </p15:clr>
        </p15:guide>
        <p15:guide id="11" pos="3841" userDrawn="1">
          <p15:clr>
            <a:srgbClr val="A4A3A4"/>
          </p15:clr>
        </p15:guide>
        <p15:guide id="12" pos="2664" userDrawn="1">
          <p15:clr>
            <a:srgbClr val="A4A3A4"/>
          </p15:clr>
        </p15:guide>
        <p15:guide id="13" pos="4992" userDrawn="1">
          <p15:clr>
            <a:srgbClr val="A4A3A4"/>
          </p15:clr>
        </p15:guide>
        <p15:guide id="15" orient="horz" pos="600" userDrawn="1">
          <p15:clr>
            <a:srgbClr val="A4A3A4"/>
          </p15:clr>
        </p15:guide>
        <p15:guide id="17" orient="horz" pos="912" userDrawn="1">
          <p15:clr>
            <a:srgbClr val="A4A3A4"/>
          </p15:clr>
        </p15:guide>
        <p15:guide id="18" orient="horz" pos="1296"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rez Diaz, Karen" initials="PDK" lastIdx="3" clrIdx="0">
    <p:extLst>
      <p:ext uri="{19B8F6BF-5375-455C-9EA6-DF929625EA0E}">
        <p15:presenceInfo xmlns:p15="http://schemas.microsoft.com/office/powerpoint/2012/main" userId="S::PerezDiazK@aetna.com::17027623-4de6-4c48-9453-394c2c5804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78D"/>
    <a:srgbClr val="626262"/>
    <a:srgbClr val="C4C4C4"/>
    <a:srgbClr val="D997E9"/>
    <a:srgbClr val="CC0000"/>
    <a:srgbClr val="F7F7F7"/>
    <a:srgbClr val="646464"/>
    <a:srgbClr val="C0C0C0"/>
    <a:srgbClr val="E94D4D"/>
    <a:srgbClr val="F2F2F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21F363-2946-48B9-BAC7-A90E15D1E657}" v="53" dt="2021-04-16T14:51:01.4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03" autoAdjust="0"/>
    <p:restoredTop sz="94660"/>
  </p:normalViewPr>
  <p:slideViewPr>
    <p:cSldViewPr snapToGrid="0">
      <p:cViewPr>
        <p:scale>
          <a:sx n="100" d="100"/>
          <a:sy n="100" d="100"/>
        </p:scale>
        <p:origin x="326" y="-230"/>
      </p:cViewPr>
      <p:guideLst>
        <p:guide pos="1512"/>
        <p:guide pos="6144"/>
        <p:guide pos="3841"/>
        <p:guide pos="2664"/>
        <p:guide pos="4992"/>
        <p:guide orient="horz" pos="600"/>
        <p:guide orient="horz" pos="912"/>
        <p:guide orient="horz" pos="1296"/>
      </p:guideLst>
    </p:cSldViewPr>
  </p:slideViewPr>
  <p:notesTextViewPr>
    <p:cViewPr>
      <p:scale>
        <a:sx n="1" d="1"/>
        <a:sy n="1" d="1"/>
      </p:scale>
      <p:origin x="0" y="0"/>
    </p:cViewPr>
  </p:notesTextViewPr>
  <p:notesViewPr>
    <p:cSldViewPr snapToGrid="0">
      <p:cViewPr>
        <p:scale>
          <a:sx n="1" d="2"/>
          <a:sy n="1" d="2"/>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rez Diaz, Karen" userId="17027623-4de6-4c48-9453-394c2c5804f8" providerId="ADAL" clId="{C9AD2782-66D2-4C59-9C6F-D77D45239006}"/>
    <pc:docChg chg="modSld">
      <pc:chgData name="Perez Diaz, Karen" userId="17027623-4de6-4c48-9453-394c2c5804f8" providerId="ADAL" clId="{C9AD2782-66D2-4C59-9C6F-D77D45239006}" dt="2021-01-12T17:28:06.569" v="7" actId="20577"/>
      <pc:docMkLst>
        <pc:docMk/>
      </pc:docMkLst>
      <pc:sldChg chg="modSp">
        <pc:chgData name="Perez Diaz, Karen" userId="17027623-4de6-4c48-9453-394c2c5804f8" providerId="ADAL" clId="{C9AD2782-66D2-4C59-9C6F-D77D45239006}" dt="2021-01-12T17:28:06.569" v="7" actId="20577"/>
        <pc:sldMkLst>
          <pc:docMk/>
          <pc:sldMk cId="3197154609" sldId="736"/>
        </pc:sldMkLst>
        <pc:spChg chg="mod">
          <ac:chgData name="Perez Diaz, Karen" userId="17027623-4de6-4c48-9453-394c2c5804f8" providerId="ADAL" clId="{C9AD2782-66D2-4C59-9C6F-D77D45239006}" dt="2021-01-12T17:28:06.569" v="7" actId="20577"/>
          <ac:spMkLst>
            <pc:docMk/>
            <pc:sldMk cId="3197154609" sldId="736"/>
            <ac:spMk id="3" creationId="{AF0DA26D-3B67-40C8-9676-A9B16F9FFEA9}"/>
          </ac:spMkLst>
        </pc:spChg>
      </pc:sldChg>
    </pc:docChg>
  </pc:docChgLst>
  <pc:docChgLst>
    <pc:chgData name="Perez Diaz, Karen" userId="17027623-4de6-4c48-9453-394c2c5804f8" providerId="ADAL" clId="{0F159CBD-F3E0-419B-833B-E99988979A30}"/>
    <pc:docChg chg="undo redo custSel modSld">
      <pc:chgData name="Perez Diaz, Karen" userId="17027623-4de6-4c48-9453-394c2c5804f8" providerId="ADAL" clId="{0F159CBD-F3E0-419B-833B-E99988979A30}" dt="2020-12-17T18:07:40.706" v="207" actId="20577"/>
      <pc:docMkLst>
        <pc:docMk/>
      </pc:docMkLst>
      <pc:sldChg chg="modSp">
        <pc:chgData name="Perez Diaz, Karen" userId="17027623-4de6-4c48-9453-394c2c5804f8" providerId="ADAL" clId="{0F159CBD-F3E0-419B-833B-E99988979A30}" dt="2020-12-17T18:07:40.706" v="207" actId="20577"/>
        <pc:sldMkLst>
          <pc:docMk/>
          <pc:sldMk cId="3887687176" sldId="260"/>
        </pc:sldMkLst>
        <pc:spChg chg="mod">
          <ac:chgData name="Perez Diaz, Karen" userId="17027623-4de6-4c48-9453-394c2c5804f8" providerId="ADAL" clId="{0F159CBD-F3E0-419B-833B-E99988979A30}" dt="2020-12-17T18:07:40.706" v="207" actId="20577"/>
          <ac:spMkLst>
            <pc:docMk/>
            <pc:sldMk cId="3887687176" sldId="260"/>
            <ac:spMk id="3" creationId="{00000000-0000-0000-0000-000000000000}"/>
          </ac:spMkLst>
        </pc:spChg>
        <pc:spChg chg="mod">
          <ac:chgData name="Perez Diaz, Karen" userId="17027623-4de6-4c48-9453-394c2c5804f8" providerId="ADAL" clId="{0F159CBD-F3E0-419B-833B-E99988979A30}" dt="2020-12-17T18:04:28.651" v="132" actId="20577"/>
          <ac:spMkLst>
            <pc:docMk/>
            <pc:sldMk cId="3887687176" sldId="260"/>
            <ac:spMk id="6" creationId="{00000000-0000-0000-0000-000000000000}"/>
          </ac:spMkLst>
        </pc:spChg>
      </pc:sldChg>
      <pc:sldChg chg="modSp">
        <pc:chgData name="Perez Diaz, Karen" userId="17027623-4de6-4c48-9453-394c2c5804f8" providerId="ADAL" clId="{0F159CBD-F3E0-419B-833B-E99988979A30}" dt="2020-12-17T18:07:34.279" v="199" actId="6549"/>
        <pc:sldMkLst>
          <pc:docMk/>
          <pc:sldMk cId="753726229" sldId="379"/>
        </pc:sldMkLst>
        <pc:spChg chg="mod">
          <ac:chgData name="Perez Diaz, Karen" userId="17027623-4de6-4c48-9453-394c2c5804f8" providerId="ADAL" clId="{0F159CBD-F3E0-419B-833B-E99988979A30}" dt="2020-12-17T18:07:22.906" v="189" actId="20577"/>
          <ac:spMkLst>
            <pc:docMk/>
            <pc:sldMk cId="753726229" sldId="379"/>
            <ac:spMk id="30" creationId="{39C286EB-B4EB-407E-9E61-97D02F492D65}"/>
          </ac:spMkLst>
        </pc:spChg>
        <pc:spChg chg="mod">
          <ac:chgData name="Perez Diaz, Karen" userId="17027623-4de6-4c48-9453-394c2c5804f8" providerId="ADAL" clId="{0F159CBD-F3E0-419B-833B-E99988979A30}" dt="2020-12-17T18:07:31.898" v="198" actId="20577"/>
          <ac:spMkLst>
            <pc:docMk/>
            <pc:sldMk cId="753726229" sldId="379"/>
            <ac:spMk id="38" creationId="{1A443F8F-8D68-42AA-BAEE-15BC368AA565}"/>
          </ac:spMkLst>
        </pc:spChg>
        <pc:spChg chg="mod">
          <ac:chgData name="Perez Diaz, Karen" userId="17027623-4de6-4c48-9453-394c2c5804f8" providerId="ADAL" clId="{0F159CBD-F3E0-419B-833B-E99988979A30}" dt="2020-12-17T18:07:34.279" v="199" actId="6549"/>
          <ac:spMkLst>
            <pc:docMk/>
            <pc:sldMk cId="753726229" sldId="379"/>
            <ac:spMk id="41" creationId="{F61881A8-8097-4E01-9E0A-37E81BD78925}"/>
          </ac:spMkLst>
        </pc:spChg>
      </pc:sldChg>
      <pc:sldChg chg="modSp">
        <pc:chgData name="Perez Diaz, Karen" userId="17027623-4de6-4c48-9453-394c2c5804f8" providerId="ADAL" clId="{0F159CBD-F3E0-419B-833B-E99988979A30}" dt="2020-12-17T18:06:14.176" v="149" actId="6549"/>
        <pc:sldMkLst>
          <pc:docMk/>
          <pc:sldMk cId="1285900942" sldId="737"/>
        </pc:sldMkLst>
        <pc:spChg chg="mod">
          <ac:chgData name="Perez Diaz, Karen" userId="17027623-4de6-4c48-9453-394c2c5804f8" providerId="ADAL" clId="{0F159CBD-F3E0-419B-833B-E99988979A30}" dt="2020-12-17T18:05:39.835" v="140" actId="20577"/>
          <ac:spMkLst>
            <pc:docMk/>
            <pc:sldMk cId="1285900942" sldId="737"/>
            <ac:spMk id="13" creationId="{CB5D12FB-FF24-4F81-84A8-B6855780FA57}"/>
          </ac:spMkLst>
        </pc:spChg>
        <pc:spChg chg="mod">
          <ac:chgData name="Perez Diaz, Karen" userId="17027623-4de6-4c48-9453-394c2c5804f8" providerId="ADAL" clId="{0F159CBD-F3E0-419B-833B-E99988979A30}" dt="2020-12-17T18:06:14.176" v="149" actId="6549"/>
          <ac:spMkLst>
            <pc:docMk/>
            <pc:sldMk cId="1285900942" sldId="737"/>
            <ac:spMk id="14" creationId="{05745967-7367-4DAD-B714-7E64C7F7BAA4}"/>
          </ac:spMkLst>
        </pc:spChg>
      </pc:sldChg>
      <pc:sldChg chg="modSp">
        <pc:chgData name="Perez Diaz, Karen" userId="17027623-4de6-4c48-9453-394c2c5804f8" providerId="ADAL" clId="{0F159CBD-F3E0-419B-833B-E99988979A30}" dt="2020-12-17T18:06:52.101" v="181" actId="20577"/>
        <pc:sldMkLst>
          <pc:docMk/>
          <pc:sldMk cId="3216517808" sldId="738"/>
        </pc:sldMkLst>
        <pc:spChg chg="mod">
          <ac:chgData name="Perez Diaz, Karen" userId="17027623-4de6-4c48-9453-394c2c5804f8" providerId="ADAL" clId="{0F159CBD-F3E0-419B-833B-E99988979A30}" dt="2020-12-17T18:06:28.937" v="157" actId="20577"/>
          <ac:spMkLst>
            <pc:docMk/>
            <pc:sldMk cId="3216517808" sldId="738"/>
            <ac:spMk id="23" creationId="{CB5D12FB-FF24-4F81-84A8-B6855780FA57}"/>
          </ac:spMkLst>
        </pc:spChg>
        <pc:spChg chg="mod">
          <ac:chgData name="Perez Diaz, Karen" userId="17027623-4de6-4c48-9453-394c2c5804f8" providerId="ADAL" clId="{0F159CBD-F3E0-419B-833B-E99988979A30}" dt="2020-12-17T18:06:52.101" v="181" actId="20577"/>
          <ac:spMkLst>
            <pc:docMk/>
            <pc:sldMk cId="3216517808" sldId="738"/>
            <ac:spMk id="24" creationId="{05745967-7367-4DAD-B714-7E64C7F7BAA4}"/>
          </ac:spMkLst>
        </pc:spChg>
      </pc:sldChg>
      <pc:sldChg chg="addSp delSp modSp">
        <pc:chgData name="Perez Diaz, Karen" userId="17027623-4de6-4c48-9453-394c2c5804f8" providerId="ADAL" clId="{0F159CBD-F3E0-419B-833B-E99988979A30}" dt="2020-12-17T18:02:30.729" v="44" actId="164"/>
        <pc:sldMkLst>
          <pc:docMk/>
          <pc:sldMk cId="881379272" sldId="742"/>
        </pc:sldMkLst>
        <pc:spChg chg="mod topLvl">
          <ac:chgData name="Perez Diaz, Karen" userId="17027623-4de6-4c48-9453-394c2c5804f8" providerId="ADAL" clId="{0F159CBD-F3E0-419B-833B-E99988979A30}" dt="2020-12-17T18:00:44.854" v="26" actId="164"/>
          <ac:spMkLst>
            <pc:docMk/>
            <pc:sldMk cId="881379272" sldId="742"/>
            <ac:spMk id="17" creationId="{C1BA304E-4D00-4467-9A6C-60D0F96B1272}"/>
          </ac:spMkLst>
        </pc:spChg>
        <pc:spChg chg="mod topLvl">
          <ac:chgData name="Perez Diaz, Karen" userId="17027623-4de6-4c48-9453-394c2c5804f8" providerId="ADAL" clId="{0F159CBD-F3E0-419B-833B-E99988979A30}" dt="2020-12-17T18:02:20.850" v="41" actId="164"/>
          <ac:spMkLst>
            <pc:docMk/>
            <pc:sldMk cId="881379272" sldId="742"/>
            <ac:spMk id="18" creationId="{1FD44B30-90FA-490E-A024-06171BB7986B}"/>
          </ac:spMkLst>
        </pc:spChg>
        <pc:spChg chg="mod topLvl">
          <ac:chgData name="Perez Diaz, Karen" userId="17027623-4de6-4c48-9453-394c2c5804f8" providerId="ADAL" clId="{0F159CBD-F3E0-419B-833B-E99988979A30}" dt="2020-12-17T18:00:44.854" v="26" actId="164"/>
          <ac:spMkLst>
            <pc:docMk/>
            <pc:sldMk cId="881379272" sldId="742"/>
            <ac:spMk id="19" creationId="{2D133A89-F002-41DF-BE8A-052612A491AC}"/>
          </ac:spMkLst>
        </pc:spChg>
        <pc:spChg chg="mod topLvl">
          <ac:chgData name="Perez Diaz, Karen" userId="17027623-4de6-4c48-9453-394c2c5804f8" providerId="ADAL" clId="{0F159CBD-F3E0-419B-833B-E99988979A30}" dt="2020-12-17T18:02:30.729" v="44" actId="164"/>
          <ac:spMkLst>
            <pc:docMk/>
            <pc:sldMk cId="881379272" sldId="742"/>
            <ac:spMk id="35" creationId="{2ACAE726-6B31-4DBD-9287-68684D0D1267}"/>
          </ac:spMkLst>
        </pc:spChg>
        <pc:grpChg chg="add mod ord">
          <ac:chgData name="Perez Diaz, Karen" userId="17027623-4de6-4c48-9453-394c2c5804f8" providerId="ADAL" clId="{0F159CBD-F3E0-419B-833B-E99988979A30}" dt="2020-12-17T18:02:20.850" v="41" actId="164"/>
          <ac:grpSpMkLst>
            <pc:docMk/>
            <pc:sldMk cId="881379272" sldId="742"/>
            <ac:grpSpMk id="23" creationId="{4AC32419-BA63-4713-9301-A226CFD32889}"/>
          </ac:grpSpMkLst>
        </pc:grpChg>
        <pc:grpChg chg="add mod">
          <ac:chgData name="Perez Diaz, Karen" userId="17027623-4de6-4c48-9453-394c2c5804f8" providerId="ADAL" clId="{0F159CBD-F3E0-419B-833B-E99988979A30}" dt="2020-12-17T18:02:30.729" v="44" actId="164"/>
          <ac:grpSpMkLst>
            <pc:docMk/>
            <pc:sldMk cId="881379272" sldId="742"/>
            <ac:grpSpMk id="24" creationId="{23994B4D-AEEA-4C88-8DDA-6E7C6CD827FD}"/>
          </ac:grpSpMkLst>
        </pc:grpChg>
        <pc:grpChg chg="add mod">
          <ac:chgData name="Perez Diaz, Karen" userId="17027623-4de6-4c48-9453-394c2c5804f8" providerId="ADAL" clId="{0F159CBD-F3E0-419B-833B-E99988979A30}" dt="2020-12-17T18:02:30.729" v="44" actId="164"/>
          <ac:grpSpMkLst>
            <pc:docMk/>
            <pc:sldMk cId="881379272" sldId="742"/>
            <ac:grpSpMk id="26" creationId="{899AB3C6-D04B-467B-80AD-71290C5FD607}"/>
          </ac:grpSpMkLst>
        </pc:grpChg>
        <pc:grpChg chg="del mod">
          <ac:chgData name="Perez Diaz, Karen" userId="17027623-4de6-4c48-9453-394c2c5804f8" providerId="ADAL" clId="{0F159CBD-F3E0-419B-833B-E99988979A30}" dt="2020-12-17T18:00:25.510" v="22" actId="165"/>
          <ac:grpSpMkLst>
            <pc:docMk/>
            <pc:sldMk cId="881379272" sldId="742"/>
            <ac:grpSpMk id="202" creationId="{3CDAE162-64E4-4CC1-8122-690E9508E68E}"/>
          </ac:grpSpMkLst>
        </pc:grpChg>
        <pc:cxnChg chg="mod">
          <ac:chgData name="Perez Diaz, Karen" userId="17027623-4de6-4c48-9453-394c2c5804f8" providerId="ADAL" clId="{0F159CBD-F3E0-419B-833B-E99988979A30}" dt="2020-12-17T18:02:25.368" v="43" actId="1076"/>
          <ac:cxnSpMkLst>
            <pc:docMk/>
            <pc:sldMk cId="881379272" sldId="742"/>
            <ac:cxnSpMk id="52" creationId="{9A801628-898B-4840-8337-E3F4FCEE2F10}"/>
          </ac:cxnSpMkLst>
        </pc:cxnChg>
        <pc:cxnChg chg="mod topLvl">
          <ac:chgData name="Perez Diaz, Karen" userId="17027623-4de6-4c48-9453-394c2c5804f8" providerId="ADAL" clId="{0F159CBD-F3E0-419B-833B-E99988979A30}" dt="2020-12-17T18:02:25.368" v="43" actId="1076"/>
          <ac:cxnSpMkLst>
            <pc:docMk/>
            <pc:sldMk cId="881379272" sldId="742"/>
            <ac:cxnSpMk id="170" creationId="{22C87227-5D49-40A2-A3BC-8592EC3CD579}"/>
          </ac:cxnSpMkLst>
        </pc:cxnChg>
      </pc:sldChg>
      <pc:sldChg chg="addSp delSp modSp">
        <pc:chgData name="Perez Diaz, Karen" userId="17027623-4de6-4c48-9453-394c2c5804f8" providerId="ADAL" clId="{0F159CBD-F3E0-419B-833B-E99988979A30}" dt="2020-12-17T18:03:20.410" v="99" actId="20577"/>
        <pc:sldMkLst>
          <pc:docMk/>
          <pc:sldMk cId="3913551135" sldId="743"/>
        </pc:sldMkLst>
        <pc:spChg chg="mod">
          <ac:chgData name="Perez Diaz, Karen" userId="17027623-4de6-4c48-9453-394c2c5804f8" providerId="ADAL" clId="{0F159CBD-F3E0-419B-833B-E99988979A30}" dt="2020-12-17T18:02:52.586" v="78" actId="20577"/>
          <ac:spMkLst>
            <pc:docMk/>
            <pc:sldMk cId="3913551135" sldId="743"/>
            <ac:spMk id="64" creationId="{FCC3EBC2-9D0D-47EA-B152-51B9C42AFCE8}"/>
          </ac:spMkLst>
        </pc:spChg>
        <pc:spChg chg="mod">
          <ac:chgData name="Perez Diaz, Karen" userId="17027623-4de6-4c48-9453-394c2c5804f8" providerId="ADAL" clId="{0F159CBD-F3E0-419B-833B-E99988979A30}" dt="2020-12-17T18:03:17.902" v="97" actId="1037"/>
          <ac:spMkLst>
            <pc:docMk/>
            <pc:sldMk cId="3913551135" sldId="743"/>
            <ac:spMk id="68" creationId="{8297072D-5A85-4366-B2F8-CF75DDD93FCF}"/>
          </ac:spMkLst>
        </pc:spChg>
        <pc:spChg chg="mod topLvl">
          <ac:chgData name="Perez Diaz, Karen" userId="17027623-4de6-4c48-9453-394c2c5804f8" providerId="ADAL" clId="{0F159CBD-F3E0-419B-833B-E99988979A30}" dt="2020-12-17T18:02:04.458" v="39" actId="165"/>
          <ac:spMkLst>
            <pc:docMk/>
            <pc:sldMk cId="3913551135" sldId="743"/>
            <ac:spMk id="73" creationId="{B3185D52-6D45-4941-851A-7D4DCF92E351}"/>
          </ac:spMkLst>
        </pc:spChg>
        <pc:spChg chg="mod">
          <ac:chgData name="Perez Diaz, Karen" userId="17027623-4de6-4c48-9453-394c2c5804f8" providerId="ADAL" clId="{0F159CBD-F3E0-419B-833B-E99988979A30}" dt="2020-12-17T18:02:59.839" v="82" actId="20577"/>
          <ac:spMkLst>
            <pc:docMk/>
            <pc:sldMk cId="3913551135" sldId="743"/>
            <ac:spMk id="74" creationId="{A978716B-E8B2-441F-A5A9-2A2F11559D2E}"/>
          </ac:spMkLst>
        </pc:spChg>
        <pc:spChg chg="mod">
          <ac:chgData name="Perez Diaz, Karen" userId="17027623-4de6-4c48-9453-394c2c5804f8" providerId="ADAL" clId="{0F159CBD-F3E0-419B-833B-E99988979A30}" dt="2020-12-17T18:03:20.410" v="99" actId="20577"/>
          <ac:spMkLst>
            <pc:docMk/>
            <pc:sldMk cId="3913551135" sldId="743"/>
            <ac:spMk id="75" creationId="{A4E9BBFC-D47C-4A4B-9668-6FDA060324CE}"/>
          </ac:spMkLst>
        </pc:spChg>
        <pc:spChg chg="mod topLvl">
          <ac:chgData name="Perez Diaz, Karen" userId="17027623-4de6-4c48-9453-394c2c5804f8" providerId="ADAL" clId="{0F159CBD-F3E0-419B-833B-E99988979A30}" dt="2020-12-17T18:02:04.458" v="39" actId="165"/>
          <ac:spMkLst>
            <pc:docMk/>
            <pc:sldMk cId="3913551135" sldId="743"/>
            <ac:spMk id="76" creationId="{A1C89732-BD6F-46B2-AE5C-A38629C712F5}"/>
          </ac:spMkLst>
        </pc:spChg>
        <pc:grpChg chg="add del mod">
          <ac:chgData name="Perez Diaz, Karen" userId="17027623-4de6-4c48-9453-394c2c5804f8" providerId="ADAL" clId="{0F159CBD-F3E0-419B-833B-E99988979A30}" dt="2020-12-17T18:02:37.027" v="45" actId="478"/>
          <ac:grpSpMkLst>
            <pc:docMk/>
            <pc:sldMk cId="3913551135" sldId="743"/>
            <ac:grpSpMk id="72" creationId="{664EEDB7-B1BB-4054-99B7-D6A3CBE30CEC}"/>
          </ac:grpSpMkLst>
        </pc:grpChg>
        <pc:grpChg chg="add mod">
          <ac:chgData name="Perez Diaz, Karen" userId="17027623-4de6-4c48-9453-394c2c5804f8" providerId="ADAL" clId="{0F159CBD-F3E0-419B-833B-E99988979A30}" dt="2020-12-17T18:02:44.584" v="70" actId="1035"/>
          <ac:grpSpMkLst>
            <pc:docMk/>
            <pc:sldMk cId="3913551135" sldId="743"/>
            <ac:grpSpMk id="78" creationId="{3E8A4C4F-A5DA-49C4-926F-AEA5802E73DA}"/>
          </ac:grpSpMkLst>
        </pc:grpChg>
        <pc:grpChg chg="del">
          <ac:chgData name="Perez Diaz, Karen" userId="17027623-4de6-4c48-9453-394c2c5804f8" providerId="ADAL" clId="{0F159CBD-F3E0-419B-833B-E99988979A30}" dt="2020-12-17T18:00:49.446" v="27" actId="478"/>
          <ac:grpSpMkLst>
            <pc:docMk/>
            <pc:sldMk cId="3913551135" sldId="743"/>
            <ac:grpSpMk id="202" creationId="{3CDAE162-64E4-4CC1-8122-690E9508E68E}"/>
          </ac:grpSpMkLst>
        </pc:grpChg>
        <pc:cxnChg chg="mod">
          <ac:chgData name="Perez Diaz, Karen" userId="17027623-4de6-4c48-9453-394c2c5804f8" providerId="ADAL" clId="{0F159CBD-F3E0-419B-833B-E99988979A30}" dt="2020-12-17T18:00:49.446" v="27" actId="478"/>
          <ac:cxnSpMkLst>
            <pc:docMk/>
            <pc:sldMk cId="3913551135" sldId="743"/>
            <ac:cxnSpMk id="52" creationId="{9A801628-898B-4840-8337-E3F4FCEE2F10}"/>
          </ac:cxnSpMkLst>
        </pc:cxnChg>
        <pc:cxnChg chg="mod">
          <ac:chgData name="Perez Diaz, Karen" userId="17027623-4de6-4c48-9453-394c2c5804f8" providerId="ADAL" clId="{0F159CBD-F3E0-419B-833B-E99988979A30}" dt="2020-12-17T18:00:49.446" v="27" actId="478"/>
          <ac:cxnSpMkLst>
            <pc:docMk/>
            <pc:sldMk cId="3913551135" sldId="743"/>
            <ac:cxnSpMk id="170" creationId="{22C87227-5D49-40A2-A3BC-8592EC3CD579}"/>
          </ac:cxnSpMkLst>
        </pc:cxnChg>
      </pc:sldChg>
    </pc:docChg>
  </pc:docChgLst>
  <pc:docChgLst>
    <pc:chgData name="Perez Diaz, Karen" userId="17027623-4de6-4c48-9453-394c2c5804f8" providerId="ADAL" clId="{D17B4A6A-FACE-45A4-9DFD-FDB6AEDFD277}"/>
    <pc:docChg chg="undo custSel modSld">
      <pc:chgData name="Perez Diaz, Karen" userId="17027623-4de6-4c48-9453-394c2c5804f8" providerId="ADAL" clId="{D17B4A6A-FACE-45A4-9DFD-FDB6AEDFD277}" dt="2021-01-15T19:43:01.893" v="53"/>
      <pc:docMkLst>
        <pc:docMk/>
      </pc:docMkLst>
      <pc:sldChg chg="modSp addCm modCm">
        <pc:chgData name="Perez Diaz, Karen" userId="17027623-4de6-4c48-9453-394c2c5804f8" providerId="ADAL" clId="{D17B4A6A-FACE-45A4-9DFD-FDB6AEDFD277}" dt="2021-01-15T19:43:01.893" v="53"/>
        <pc:sldMkLst>
          <pc:docMk/>
          <pc:sldMk cId="3887687176" sldId="260"/>
        </pc:sldMkLst>
        <pc:spChg chg="mod">
          <ac:chgData name="Perez Diaz, Karen" userId="17027623-4de6-4c48-9453-394c2c5804f8" providerId="ADAL" clId="{D17B4A6A-FACE-45A4-9DFD-FDB6AEDFD277}" dt="2021-01-15T19:18:47.390" v="32" actId="20578"/>
          <ac:spMkLst>
            <pc:docMk/>
            <pc:sldMk cId="3887687176" sldId="260"/>
            <ac:spMk id="10" creationId="{00000000-0000-0000-0000-000000000000}"/>
          </ac:spMkLst>
        </pc:spChg>
      </pc:sldChg>
      <pc:sldChg chg="modSp">
        <pc:chgData name="Perez Diaz, Karen" userId="17027623-4de6-4c48-9453-394c2c5804f8" providerId="ADAL" clId="{D17B4A6A-FACE-45A4-9DFD-FDB6AEDFD277}" dt="2021-01-15T19:19:35.625" v="34" actId="20577"/>
        <pc:sldMkLst>
          <pc:docMk/>
          <pc:sldMk cId="753726229" sldId="379"/>
        </pc:sldMkLst>
        <pc:spChg chg="mod">
          <ac:chgData name="Perez Diaz, Karen" userId="17027623-4de6-4c48-9453-394c2c5804f8" providerId="ADAL" clId="{D17B4A6A-FACE-45A4-9DFD-FDB6AEDFD277}" dt="2021-01-15T18:57:35.591" v="1" actId="1076"/>
          <ac:spMkLst>
            <pc:docMk/>
            <pc:sldMk cId="753726229" sldId="379"/>
            <ac:spMk id="40" creationId="{E5BC28D1-A317-46D6-8D20-1C1199149729}"/>
          </ac:spMkLst>
        </pc:spChg>
        <pc:spChg chg="mod">
          <ac:chgData name="Perez Diaz, Karen" userId="17027623-4de6-4c48-9453-394c2c5804f8" providerId="ADAL" clId="{D17B4A6A-FACE-45A4-9DFD-FDB6AEDFD277}" dt="2021-01-15T19:19:35.625" v="34" actId="20577"/>
          <ac:spMkLst>
            <pc:docMk/>
            <pc:sldMk cId="753726229" sldId="379"/>
            <ac:spMk id="48" creationId="{0415831F-B7AD-4DDD-86CF-4F02CD25D1C2}"/>
          </ac:spMkLst>
        </pc:spChg>
      </pc:sldChg>
      <pc:sldChg chg="modSp">
        <pc:chgData name="Perez Diaz, Karen" userId="17027623-4de6-4c48-9453-394c2c5804f8" providerId="ADAL" clId="{D17B4A6A-FACE-45A4-9DFD-FDB6AEDFD277}" dt="2021-01-15T19:23:51.207" v="49" actId="20577"/>
        <pc:sldMkLst>
          <pc:docMk/>
          <pc:sldMk cId="1285900942" sldId="737"/>
        </pc:sldMkLst>
        <pc:spChg chg="mod">
          <ac:chgData name="Perez Diaz, Karen" userId="17027623-4de6-4c48-9453-394c2c5804f8" providerId="ADAL" clId="{D17B4A6A-FACE-45A4-9DFD-FDB6AEDFD277}" dt="2021-01-15T19:23:51.207" v="49" actId="20577"/>
          <ac:spMkLst>
            <pc:docMk/>
            <pc:sldMk cId="1285900942" sldId="737"/>
            <ac:spMk id="10" creationId="{CB5D12FB-FF24-4F81-84A8-B6855780FA57}"/>
          </ac:spMkLst>
        </pc:spChg>
        <pc:picChg chg="mod">
          <ac:chgData name="Perez Diaz, Karen" userId="17027623-4de6-4c48-9453-394c2c5804f8" providerId="ADAL" clId="{D17B4A6A-FACE-45A4-9DFD-FDB6AEDFD277}" dt="2021-01-15T18:58:02.347" v="2" actId="1076"/>
          <ac:picMkLst>
            <pc:docMk/>
            <pc:sldMk cId="1285900942" sldId="737"/>
            <ac:picMk id="18" creationId="{00000000-0000-0000-0000-000000000000}"/>
          </ac:picMkLst>
        </pc:picChg>
        <pc:picChg chg="mod">
          <ac:chgData name="Perez Diaz, Karen" userId="17027623-4de6-4c48-9453-394c2c5804f8" providerId="ADAL" clId="{D17B4A6A-FACE-45A4-9DFD-FDB6AEDFD277}" dt="2021-01-15T18:58:11.603" v="5" actId="1076"/>
          <ac:picMkLst>
            <pc:docMk/>
            <pc:sldMk cId="1285900942" sldId="737"/>
            <ac:picMk id="20" creationId="{00000000-0000-0000-0000-000000000000}"/>
          </ac:picMkLst>
        </pc:picChg>
      </pc:sldChg>
    </pc:docChg>
  </pc:docChgLst>
  <pc:docChgLst>
    <pc:chgData name="Karen Perez Diaz" userId="17027623-4de6-4c48-9453-394c2c5804f8" providerId="ADAL" clId="{36663EC6-42C7-4AE9-90A1-8B4641F56D46}"/>
    <pc:docChg chg="modSld">
      <pc:chgData name="Karen Perez Diaz" userId="17027623-4de6-4c48-9453-394c2c5804f8" providerId="ADAL" clId="{36663EC6-42C7-4AE9-90A1-8B4641F56D46}" dt="2021-01-13T17:20:29.752" v="1" actId="20577"/>
      <pc:docMkLst>
        <pc:docMk/>
      </pc:docMkLst>
      <pc:sldChg chg="modSp">
        <pc:chgData name="Karen Perez Diaz" userId="17027623-4de6-4c48-9453-394c2c5804f8" providerId="ADAL" clId="{36663EC6-42C7-4AE9-90A1-8B4641F56D46}" dt="2021-01-13T17:20:29.752" v="1" actId="20577"/>
        <pc:sldMkLst>
          <pc:docMk/>
          <pc:sldMk cId="3197154609" sldId="736"/>
        </pc:sldMkLst>
        <pc:spChg chg="mod">
          <ac:chgData name="Karen Perez Diaz" userId="17027623-4de6-4c48-9453-394c2c5804f8" providerId="ADAL" clId="{36663EC6-42C7-4AE9-90A1-8B4641F56D46}" dt="2021-01-13T17:20:29.752" v="1" actId="20577"/>
          <ac:spMkLst>
            <pc:docMk/>
            <pc:sldMk cId="3197154609" sldId="736"/>
            <ac:spMk id="3" creationId="{AF0DA26D-3B67-40C8-9676-A9B16F9FFEA9}"/>
          </ac:spMkLst>
        </pc:spChg>
      </pc:sldChg>
    </pc:docChg>
  </pc:docChgLst>
  <pc:docChgLst>
    <pc:chgData name="Karen Perez Diaz" userId="17027623-4de6-4c48-9453-394c2c5804f8" providerId="ADAL" clId="{DF10F452-8148-4364-94E8-18FA456F9EC7}"/>
    <pc:docChg chg="undo modSld">
      <pc:chgData name="Karen Perez Diaz" userId="17027623-4de6-4c48-9453-394c2c5804f8" providerId="ADAL" clId="{DF10F452-8148-4364-94E8-18FA456F9EC7}" dt="2021-01-13T19:33:19.188" v="290" actId="6549"/>
      <pc:docMkLst>
        <pc:docMk/>
      </pc:docMkLst>
      <pc:sldChg chg="modSp">
        <pc:chgData name="Karen Perez Diaz" userId="17027623-4de6-4c48-9453-394c2c5804f8" providerId="ADAL" clId="{DF10F452-8148-4364-94E8-18FA456F9EC7}" dt="2021-01-13T19:18:06.999" v="145" actId="6549"/>
        <pc:sldMkLst>
          <pc:docMk/>
          <pc:sldMk cId="753726229" sldId="379"/>
        </pc:sldMkLst>
        <pc:spChg chg="mod">
          <ac:chgData name="Karen Perez Diaz" userId="17027623-4de6-4c48-9453-394c2c5804f8" providerId="ADAL" clId="{DF10F452-8148-4364-94E8-18FA456F9EC7}" dt="2021-01-13T19:16:09.994" v="11" actId="20577"/>
          <ac:spMkLst>
            <pc:docMk/>
            <pc:sldMk cId="753726229" sldId="379"/>
            <ac:spMk id="38" creationId="{1A443F8F-8D68-42AA-BAEE-15BC368AA565}"/>
          </ac:spMkLst>
        </pc:spChg>
        <pc:spChg chg="mod">
          <ac:chgData name="Karen Perez Diaz" userId="17027623-4de6-4c48-9453-394c2c5804f8" providerId="ADAL" clId="{DF10F452-8148-4364-94E8-18FA456F9EC7}" dt="2021-01-13T19:18:06.999" v="145" actId="6549"/>
          <ac:spMkLst>
            <pc:docMk/>
            <pc:sldMk cId="753726229" sldId="379"/>
            <ac:spMk id="48" creationId="{0415831F-B7AD-4DDD-86CF-4F02CD25D1C2}"/>
          </ac:spMkLst>
        </pc:spChg>
      </pc:sldChg>
      <pc:sldChg chg="modSp">
        <pc:chgData name="Karen Perez Diaz" userId="17027623-4de6-4c48-9453-394c2c5804f8" providerId="ADAL" clId="{DF10F452-8148-4364-94E8-18FA456F9EC7}" dt="2021-01-13T19:33:19.188" v="290" actId="6549"/>
        <pc:sldMkLst>
          <pc:docMk/>
          <pc:sldMk cId="1285900942" sldId="737"/>
        </pc:sldMkLst>
        <pc:spChg chg="mod">
          <ac:chgData name="Karen Perez Diaz" userId="17027623-4de6-4c48-9453-394c2c5804f8" providerId="ADAL" clId="{DF10F452-8148-4364-94E8-18FA456F9EC7}" dt="2021-01-13T19:33:19.188" v="290" actId="6549"/>
          <ac:spMkLst>
            <pc:docMk/>
            <pc:sldMk cId="1285900942" sldId="737"/>
            <ac:spMk id="14" creationId="{05745967-7367-4DAD-B714-7E64C7F7BAA4}"/>
          </ac:spMkLst>
        </pc:spChg>
      </pc:sldChg>
      <pc:sldChg chg="modSp">
        <pc:chgData name="Karen Perez Diaz" userId="17027623-4de6-4c48-9453-394c2c5804f8" providerId="ADAL" clId="{DF10F452-8148-4364-94E8-18FA456F9EC7}" dt="2021-01-13T19:32:13.097" v="278" actId="20577"/>
        <pc:sldMkLst>
          <pc:docMk/>
          <pc:sldMk cId="3216517808" sldId="738"/>
        </pc:sldMkLst>
        <pc:spChg chg="mod">
          <ac:chgData name="Karen Perez Diaz" userId="17027623-4de6-4c48-9453-394c2c5804f8" providerId="ADAL" clId="{DF10F452-8148-4364-94E8-18FA456F9EC7}" dt="2021-01-13T19:32:13.097" v="278" actId="20577"/>
          <ac:spMkLst>
            <pc:docMk/>
            <pc:sldMk cId="3216517808" sldId="738"/>
            <ac:spMk id="24" creationId="{05745967-7367-4DAD-B714-7E64C7F7BAA4}"/>
          </ac:spMkLst>
        </pc:spChg>
      </pc:sldChg>
    </pc:docChg>
  </pc:docChgLst>
  <pc:docChgLst>
    <pc:chgData name="Perez Diaz, Karen" userId="17027623-4de6-4c48-9453-394c2c5804f8" providerId="ADAL" clId="{2AE8430C-FC38-4135-9F33-74E0DE054B9C}"/>
    <pc:docChg chg="addSld modSld">
      <pc:chgData name="Perez Diaz, Karen" userId="17027623-4de6-4c48-9453-394c2c5804f8" providerId="ADAL" clId="{2AE8430C-FC38-4135-9F33-74E0DE054B9C}" dt="2021-03-25T15:07:34.270" v="93" actId="13926"/>
      <pc:docMkLst>
        <pc:docMk/>
      </pc:docMkLst>
      <pc:sldChg chg="modSp mod">
        <pc:chgData name="Perez Diaz, Karen" userId="17027623-4de6-4c48-9453-394c2c5804f8" providerId="ADAL" clId="{2AE8430C-FC38-4135-9F33-74E0DE054B9C}" dt="2021-03-23T13:49:22.834" v="1" actId="13926"/>
        <pc:sldMkLst>
          <pc:docMk/>
          <pc:sldMk cId="3887687176" sldId="260"/>
        </pc:sldMkLst>
        <pc:spChg chg="mod">
          <ac:chgData name="Perez Diaz, Karen" userId="17027623-4de6-4c48-9453-394c2c5804f8" providerId="ADAL" clId="{2AE8430C-FC38-4135-9F33-74E0DE054B9C}" dt="2021-03-23T13:49:22.834" v="1" actId="13926"/>
          <ac:spMkLst>
            <pc:docMk/>
            <pc:sldMk cId="3887687176" sldId="260"/>
            <ac:spMk id="10" creationId="{00000000-0000-0000-0000-000000000000}"/>
          </ac:spMkLst>
        </pc:spChg>
      </pc:sldChg>
      <pc:sldChg chg="modSp mod">
        <pc:chgData name="Perez Diaz, Karen" userId="17027623-4de6-4c48-9453-394c2c5804f8" providerId="ADAL" clId="{2AE8430C-FC38-4135-9F33-74E0DE054B9C}" dt="2021-03-25T15:07:34.270" v="93" actId="13926"/>
        <pc:sldMkLst>
          <pc:docMk/>
          <pc:sldMk cId="753726229" sldId="379"/>
        </pc:sldMkLst>
        <pc:spChg chg="mod">
          <ac:chgData name="Perez Diaz, Karen" userId="17027623-4de6-4c48-9453-394c2c5804f8" providerId="ADAL" clId="{2AE8430C-FC38-4135-9F33-74E0DE054B9C}" dt="2021-03-25T15:07:34.270" v="93" actId="13926"/>
          <ac:spMkLst>
            <pc:docMk/>
            <pc:sldMk cId="753726229" sldId="379"/>
            <ac:spMk id="30" creationId="{39C286EB-B4EB-407E-9E61-97D02F492D65}"/>
          </ac:spMkLst>
        </pc:spChg>
      </pc:sldChg>
      <pc:sldChg chg="addSp modSp add mod">
        <pc:chgData name="Perez Diaz, Karen" userId="17027623-4de6-4c48-9453-394c2c5804f8" providerId="ADAL" clId="{2AE8430C-FC38-4135-9F33-74E0DE054B9C}" dt="2021-03-24T15:53:15.466" v="88" actId="6549"/>
        <pc:sldMkLst>
          <pc:docMk/>
          <pc:sldMk cId="995053867" sldId="435"/>
        </pc:sldMkLst>
        <pc:spChg chg="add mod">
          <ac:chgData name="Perez Diaz, Karen" userId="17027623-4de6-4c48-9453-394c2c5804f8" providerId="ADAL" clId="{2AE8430C-FC38-4135-9F33-74E0DE054B9C}" dt="2021-03-24T15:53:15.466" v="88" actId="6549"/>
          <ac:spMkLst>
            <pc:docMk/>
            <pc:sldMk cId="995053867" sldId="435"/>
            <ac:spMk id="6" creationId="{1FFDE395-3806-49D0-973F-A879AB3E7945}"/>
          </ac:spMkLst>
        </pc:spChg>
      </pc:sldChg>
      <pc:sldChg chg="addSp modSp add">
        <pc:chgData name="Perez Diaz, Karen" userId="17027623-4de6-4c48-9453-394c2c5804f8" providerId="ADAL" clId="{2AE8430C-FC38-4135-9F33-74E0DE054B9C}" dt="2021-03-23T15:54:03.825" v="87"/>
        <pc:sldMkLst>
          <pc:docMk/>
          <pc:sldMk cId="1768675143" sldId="436"/>
        </pc:sldMkLst>
        <pc:spChg chg="add mod">
          <ac:chgData name="Perez Diaz, Karen" userId="17027623-4de6-4c48-9453-394c2c5804f8" providerId="ADAL" clId="{2AE8430C-FC38-4135-9F33-74E0DE054B9C}" dt="2021-03-23T15:54:03.825" v="87"/>
          <ac:spMkLst>
            <pc:docMk/>
            <pc:sldMk cId="1768675143" sldId="436"/>
            <ac:spMk id="4" creationId="{D0E2A4DC-25F9-40B8-B82F-5A3015B15260}"/>
          </ac:spMkLst>
        </pc:spChg>
      </pc:sldChg>
      <pc:sldChg chg="modSp mod">
        <pc:chgData name="Perez Diaz, Karen" userId="17027623-4de6-4c48-9453-394c2c5804f8" providerId="ADAL" clId="{2AE8430C-FC38-4135-9F33-74E0DE054B9C}" dt="2021-03-25T15:07:29.735" v="92" actId="13926"/>
        <pc:sldMkLst>
          <pc:docMk/>
          <pc:sldMk cId="1285900942" sldId="737"/>
        </pc:sldMkLst>
        <pc:spChg chg="mod">
          <ac:chgData name="Perez Diaz, Karen" userId="17027623-4de6-4c48-9453-394c2c5804f8" providerId="ADAL" clId="{2AE8430C-FC38-4135-9F33-74E0DE054B9C}" dt="2021-03-25T15:07:29.735" v="92" actId="13926"/>
          <ac:spMkLst>
            <pc:docMk/>
            <pc:sldMk cId="1285900942" sldId="737"/>
            <ac:spMk id="3" creationId="{00000000-0000-0000-0000-000000000000}"/>
          </ac:spMkLst>
        </pc:spChg>
        <pc:spChg chg="mod">
          <ac:chgData name="Perez Diaz, Karen" userId="17027623-4de6-4c48-9453-394c2c5804f8" providerId="ADAL" clId="{2AE8430C-FC38-4135-9F33-74E0DE054B9C}" dt="2021-03-23T15:45:16.707" v="5" actId="20577"/>
          <ac:spMkLst>
            <pc:docMk/>
            <pc:sldMk cId="1285900942" sldId="737"/>
            <ac:spMk id="10" creationId="{CB5D12FB-FF24-4F81-84A8-B6855780FA57}"/>
          </ac:spMkLst>
        </pc:spChg>
      </pc:sldChg>
      <pc:sldChg chg="modSp mod">
        <pc:chgData name="Perez Diaz, Karen" userId="17027623-4de6-4c48-9453-394c2c5804f8" providerId="ADAL" clId="{2AE8430C-FC38-4135-9F33-74E0DE054B9C}" dt="2021-03-25T15:07:26.057" v="91" actId="13926"/>
        <pc:sldMkLst>
          <pc:docMk/>
          <pc:sldMk cId="3216517808" sldId="738"/>
        </pc:sldMkLst>
        <pc:spChg chg="mod">
          <ac:chgData name="Perez Diaz, Karen" userId="17027623-4de6-4c48-9453-394c2c5804f8" providerId="ADAL" clId="{2AE8430C-FC38-4135-9F33-74E0DE054B9C}" dt="2021-03-25T15:07:17.916" v="89" actId="13926"/>
          <ac:spMkLst>
            <pc:docMk/>
            <pc:sldMk cId="3216517808" sldId="738"/>
            <ac:spMk id="3" creationId="{00000000-0000-0000-0000-000000000000}"/>
          </ac:spMkLst>
        </pc:spChg>
        <pc:spChg chg="mod">
          <ac:chgData name="Perez Diaz, Karen" userId="17027623-4de6-4c48-9453-394c2c5804f8" providerId="ADAL" clId="{2AE8430C-FC38-4135-9F33-74E0DE054B9C}" dt="2021-03-25T15:07:22.574" v="90" actId="13926"/>
          <ac:spMkLst>
            <pc:docMk/>
            <pc:sldMk cId="3216517808" sldId="738"/>
            <ac:spMk id="16" creationId="{CB5D12FB-FF24-4F81-84A8-B6855780FA57}"/>
          </ac:spMkLst>
        </pc:spChg>
        <pc:spChg chg="mod">
          <ac:chgData name="Perez Diaz, Karen" userId="17027623-4de6-4c48-9453-394c2c5804f8" providerId="ADAL" clId="{2AE8430C-FC38-4135-9F33-74E0DE054B9C}" dt="2021-03-25T15:07:26.057" v="91" actId="13926"/>
          <ac:spMkLst>
            <pc:docMk/>
            <pc:sldMk cId="3216517808" sldId="738"/>
            <ac:spMk id="23" creationId="{CB5D12FB-FF24-4F81-84A8-B6855780FA57}"/>
          </ac:spMkLst>
        </pc:spChg>
      </pc:sldChg>
    </pc:docChg>
  </pc:docChgLst>
  <pc:docChgLst>
    <pc:chgData name="Karen Perez Diaz" userId="17027623-4de6-4c48-9453-394c2c5804f8" providerId="ADAL" clId="{503179BE-33C0-4498-B919-7809CE06ACC6}"/>
    <pc:docChg chg="modSld">
      <pc:chgData name="Karen Perez Diaz" userId="17027623-4de6-4c48-9453-394c2c5804f8" providerId="ADAL" clId="{503179BE-33C0-4498-B919-7809CE06ACC6}" dt="2021-01-14T21:48:43.184" v="121" actId="14100"/>
      <pc:docMkLst>
        <pc:docMk/>
      </pc:docMkLst>
      <pc:sldChg chg="modSp">
        <pc:chgData name="Karen Perez Diaz" userId="17027623-4de6-4c48-9453-394c2c5804f8" providerId="ADAL" clId="{503179BE-33C0-4498-B919-7809CE06ACC6}" dt="2021-01-13T21:20:09.455" v="15" actId="20577"/>
        <pc:sldMkLst>
          <pc:docMk/>
          <pc:sldMk cId="3197154609" sldId="736"/>
        </pc:sldMkLst>
        <pc:spChg chg="mod">
          <ac:chgData name="Karen Perez Diaz" userId="17027623-4de6-4c48-9453-394c2c5804f8" providerId="ADAL" clId="{503179BE-33C0-4498-B919-7809CE06ACC6}" dt="2021-01-13T21:20:09.455" v="15" actId="20577"/>
          <ac:spMkLst>
            <pc:docMk/>
            <pc:sldMk cId="3197154609" sldId="736"/>
            <ac:spMk id="3" creationId="{AF0DA26D-3B67-40C8-9676-A9B16F9FFEA9}"/>
          </ac:spMkLst>
        </pc:spChg>
      </pc:sldChg>
      <pc:sldChg chg="modSp">
        <pc:chgData name="Karen Perez Diaz" userId="17027623-4de6-4c48-9453-394c2c5804f8" providerId="ADAL" clId="{503179BE-33C0-4498-B919-7809CE06ACC6}" dt="2021-01-14T21:44:02.157" v="112" actId="20577"/>
        <pc:sldMkLst>
          <pc:docMk/>
          <pc:sldMk cId="1285900942" sldId="737"/>
        </pc:sldMkLst>
        <pc:spChg chg="mod">
          <ac:chgData name="Karen Perez Diaz" userId="17027623-4de6-4c48-9453-394c2c5804f8" providerId="ADAL" clId="{503179BE-33C0-4498-B919-7809CE06ACC6}" dt="2021-01-14T21:42:31.682" v="78" actId="1035"/>
          <ac:spMkLst>
            <pc:docMk/>
            <pc:sldMk cId="1285900942" sldId="737"/>
            <ac:spMk id="12" creationId="{05745967-7367-4DAD-B714-7E64C7F7BAA4}"/>
          </ac:spMkLst>
        </pc:spChg>
        <pc:spChg chg="mod">
          <ac:chgData name="Karen Perez Diaz" userId="17027623-4de6-4c48-9453-394c2c5804f8" providerId="ADAL" clId="{503179BE-33C0-4498-B919-7809CE06ACC6}" dt="2021-01-14T21:44:02.157" v="112" actId="20577"/>
          <ac:spMkLst>
            <pc:docMk/>
            <pc:sldMk cId="1285900942" sldId="737"/>
            <ac:spMk id="14" creationId="{05745967-7367-4DAD-B714-7E64C7F7BAA4}"/>
          </ac:spMkLst>
        </pc:spChg>
      </pc:sldChg>
      <pc:sldChg chg="modSp">
        <pc:chgData name="Karen Perez Diaz" userId="17027623-4de6-4c48-9453-394c2c5804f8" providerId="ADAL" clId="{503179BE-33C0-4498-B919-7809CE06ACC6}" dt="2021-01-14T21:48:43.184" v="121" actId="14100"/>
        <pc:sldMkLst>
          <pc:docMk/>
          <pc:sldMk cId="3216517808" sldId="738"/>
        </pc:sldMkLst>
        <pc:spChg chg="mod">
          <ac:chgData name="Karen Perez Diaz" userId="17027623-4de6-4c48-9453-394c2c5804f8" providerId="ADAL" clId="{503179BE-33C0-4498-B919-7809CE06ACC6}" dt="2021-01-14T21:48:43.184" v="121" actId="14100"/>
          <ac:spMkLst>
            <pc:docMk/>
            <pc:sldMk cId="3216517808" sldId="738"/>
            <ac:spMk id="24" creationId="{05745967-7367-4DAD-B714-7E64C7F7BAA4}"/>
          </ac:spMkLst>
        </pc:spChg>
      </pc:sldChg>
    </pc:docChg>
  </pc:docChgLst>
  <pc:docChgLst>
    <pc:chgData name="Perez Diaz, Karen" userId="17027623-4de6-4c48-9453-394c2c5804f8" providerId="ADAL" clId="{3D074B42-AEA4-454C-8585-E7FE470A2BF9}"/>
    <pc:docChg chg="undo custSel addSld delSld modSld sldOrd">
      <pc:chgData name="Perez Diaz, Karen" userId="17027623-4de6-4c48-9453-394c2c5804f8" providerId="ADAL" clId="{3D074B42-AEA4-454C-8585-E7FE470A2BF9}" dt="2021-03-29T22:10:38.589" v="2382" actId="20577"/>
      <pc:docMkLst>
        <pc:docMk/>
      </pc:docMkLst>
      <pc:sldChg chg="addSp modSp mod">
        <pc:chgData name="Perez Diaz, Karen" userId="17027623-4de6-4c48-9453-394c2c5804f8" providerId="ADAL" clId="{3D074B42-AEA4-454C-8585-E7FE470A2BF9}" dt="2021-03-29T22:10:38.589" v="2382" actId="20577"/>
        <pc:sldMkLst>
          <pc:docMk/>
          <pc:sldMk cId="3887687176" sldId="260"/>
        </pc:sldMkLst>
        <pc:spChg chg="add mod">
          <ac:chgData name="Perez Diaz, Karen" userId="17027623-4de6-4c48-9453-394c2c5804f8" providerId="ADAL" clId="{3D074B42-AEA4-454C-8585-E7FE470A2BF9}" dt="2021-03-29T22:10:38.589" v="2382" actId="20577"/>
          <ac:spMkLst>
            <pc:docMk/>
            <pc:sldMk cId="3887687176" sldId="260"/>
            <ac:spMk id="5" creationId="{2D69D40E-EDE9-471D-B9ED-C7524629D0CF}"/>
          </ac:spMkLst>
        </pc:spChg>
        <pc:spChg chg="mod">
          <ac:chgData name="Perez Diaz, Karen" userId="17027623-4de6-4c48-9453-394c2c5804f8" providerId="ADAL" clId="{3D074B42-AEA4-454C-8585-E7FE470A2BF9}" dt="2021-03-29T21:53:57.612" v="1781" actId="20577"/>
          <ac:spMkLst>
            <pc:docMk/>
            <pc:sldMk cId="3887687176" sldId="260"/>
            <ac:spMk id="6" creationId="{00000000-0000-0000-0000-000000000000}"/>
          </ac:spMkLst>
        </pc:spChg>
      </pc:sldChg>
      <pc:sldChg chg="modSp mod ord">
        <pc:chgData name="Perez Diaz, Karen" userId="17027623-4de6-4c48-9453-394c2c5804f8" providerId="ADAL" clId="{3D074B42-AEA4-454C-8585-E7FE470A2BF9}" dt="2021-03-29T21:51:00.664" v="1763"/>
        <pc:sldMkLst>
          <pc:docMk/>
          <pc:sldMk cId="4110761666" sldId="753"/>
        </pc:sldMkLst>
        <pc:graphicFrameChg chg="mod modGraphic">
          <ac:chgData name="Perez Diaz, Karen" userId="17027623-4de6-4c48-9453-394c2c5804f8" providerId="ADAL" clId="{3D074B42-AEA4-454C-8585-E7FE470A2BF9}" dt="2021-03-29T21:50:49.064" v="1761" actId="20577"/>
          <ac:graphicFrameMkLst>
            <pc:docMk/>
            <pc:sldMk cId="4110761666" sldId="753"/>
            <ac:graphicFrameMk id="5" creationId="{70F9371E-F78A-4060-92E1-259C0C348C60}"/>
          </ac:graphicFrameMkLst>
        </pc:graphicFrameChg>
      </pc:sldChg>
      <pc:sldChg chg="addSp delSp modSp new mod ord">
        <pc:chgData name="Perez Diaz, Karen" userId="17027623-4de6-4c48-9453-394c2c5804f8" providerId="ADAL" clId="{3D074B42-AEA4-454C-8585-E7FE470A2BF9}" dt="2021-03-29T21:53:23.994" v="1777" actId="20577"/>
        <pc:sldMkLst>
          <pc:docMk/>
          <pc:sldMk cId="313541378" sldId="754"/>
        </pc:sldMkLst>
        <pc:spChg chg="mod">
          <ac:chgData name="Perez Diaz, Karen" userId="17027623-4de6-4c48-9453-394c2c5804f8" providerId="ADAL" clId="{3D074B42-AEA4-454C-8585-E7FE470A2BF9}" dt="2021-03-29T20:46:13.996" v="1115" actId="20577"/>
          <ac:spMkLst>
            <pc:docMk/>
            <pc:sldMk cId="313541378" sldId="754"/>
            <ac:spMk id="2" creationId="{AECEAB9A-4052-4EF4-B24B-BD317033D159}"/>
          </ac:spMkLst>
        </pc:spChg>
        <pc:spChg chg="add del mod">
          <ac:chgData name="Perez Diaz, Karen" userId="17027623-4de6-4c48-9453-394c2c5804f8" providerId="ADAL" clId="{3D074B42-AEA4-454C-8585-E7FE470A2BF9}" dt="2021-03-29T20:45:10.505" v="1091" actId="1036"/>
          <ac:spMkLst>
            <pc:docMk/>
            <pc:sldMk cId="313541378" sldId="754"/>
            <ac:spMk id="3" creationId="{A2A7ACBE-BDCD-4F26-956E-BBAF98176ED7}"/>
          </ac:spMkLst>
        </pc:spChg>
        <pc:spChg chg="add del mod">
          <ac:chgData name="Perez Diaz, Karen" userId="17027623-4de6-4c48-9453-394c2c5804f8" providerId="ADAL" clId="{3D074B42-AEA4-454C-8585-E7FE470A2BF9}" dt="2021-03-29T21:53:23.994" v="1777" actId="20577"/>
          <ac:spMkLst>
            <pc:docMk/>
            <pc:sldMk cId="313541378" sldId="754"/>
            <ac:spMk id="4" creationId="{3391FEEF-F27B-41D9-B582-F93BB491DB23}"/>
          </ac:spMkLst>
        </pc:spChg>
        <pc:spChg chg="add del mod">
          <ac:chgData name="Perez Diaz, Karen" userId="17027623-4de6-4c48-9453-394c2c5804f8" providerId="ADAL" clId="{3D074B42-AEA4-454C-8585-E7FE470A2BF9}" dt="2021-03-29T20:40:34.711" v="856" actId="478"/>
          <ac:spMkLst>
            <pc:docMk/>
            <pc:sldMk cId="313541378" sldId="754"/>
            <ac:spMk id="8" creationId="{3DA600BC-A7CD-4F21-8D9D-16E1E2821543}"/>
          </ac:spMkLst>
        </pc:spChg>
        <pc:graphicFrameChg chg="add mod modGraphic">
          <ac:chgData name="Perez Diaz, Karen" userId="17027623-4de6-4c48-9453-394c2c5804f8" providerId="ADAL" clId="{3D074B42-AEA4-454C-8585-E7FE470A2BF9}" dt="2021-03-29T20:45:24.108" v="1092"/>
          <ac:graphicFrameMkLst>
            <pc:docMk/>
            <pc:sldMk cId="313541378" sldId="754"/>
            <ac:graphicFrameMk id="5" creationId="{CFFC21C1-D8DC-44A8-8916-D41D38B0EE0C}"/>
          </ac:graphicFrameMkLst>
        </pc:graphicFrameChg>
        <pc:graphicFrameChg chg="add del mod modGraphic">
          <ac:chgData name="Perez Diaz, Karen" userId="17027623-4de6-4c48-9453-394c2c5804f8" providerId="ADAL" clId="{3D074B42-AEA4-454C-8585-E7FE470A2BF9}" dt="2021-03-29T20:31:23.090" v="697" actId="478"/>
          <ac:graphicFrameMkLst>
            <pc:docMk/>
            <pc:sldMk cId="313541378" sldId="754"/>
            <ac:graphicFrameMk id="6" creationId="{EBF5345B-144F-4C9A-A848-374DCF8E2606}"/>
          </ac:graphicFrameMkLst>
        </pc:graphicFrameChg>
      </pc:sldChg>
      <pc:sldChg chg="addSp delSp modSp new del mod">
        <pc:chgData name="Perez Diaz, Karen" userId="17027623-4de6-4c48-9453-394c2c5804f8" providerId="ADAL" clId="{3D074B42-AEA4-454C-8585-E7FE470A2BF9}" dt="2021-03-29T20:39:53.263" v="829" actId="47"/>
        <pc:sldMkLst>
          <pc:docMk/>
          <pc:sldMk cId="735574475" sldId="755"/>
        </pc:sldMkLst>
        <pc:spChg chg="mod">
          <ac:chgData name="Perez Diaz, Karen" userId="17027623-4de6-4c48-9453-394c2c5804f8" providerId="ADAL" clId="{3D074B42-AEA4-454C-8585-E7FE470A2BF9}" dt="2021-03-29T20:36:33.613" v="770"/>
          <ac:spMkLst>
            <pc:docMk/>
            <pc:sldMk cId="735574475" sldId="755"/>
            <ac:spMk id="2" creationId="{04385547-98E8-45E5-B7CD-FF0E4583064A}"/>
          </ac:spMkLst>
        </pc:spChg>
        <pc:spChg chg="add del mod">
          <ac:chgData name="Perez Diaz, Karen" userId="17027623-4de6-4c48-9453-394c2c5804f8" providerId="ADAL" clId="{3D074B42-AEA4-454C-8585-E7FE470A2BF9}" dt="2021-03-29T20:28:23.108" v="658" actId="478"/>
          <ac:spMkLst>
            <pc:docMk/>
            <pc:sldMk cId="735574475" sldId="755"/>
            <ac:spMk id="3" creationId="{46B2B2BE-945F-475D-A49F-0866179AF1F5}"/>
          </ac:spMkLst>
        </pc:spChg>
        <pc:graphicFrameChg chg="add del mod">
          <ac:chgData name="Perez Diaz, Karen" userId="17027623-4de6-4c48-9453-394c2c5804f8" providerId="ADAL" clId="{3D074B42-AEA4-454C-8585-E7FE470A2BF9}" dt="2021-03-29T20:28:21.168" v="657"/>
          <ac:graphicFrameMkLst>
            <pc:docMk/>
            <pc:sldMk cId="735574475" sldId="755"/>
            <ac:graphicFrameMk id="4" creationId="{F144E830-495C-476C-A528-1B5C2DBAE088}"/>
          </ac:graphicFrameMkLst>
        </pc:graphicFrameChg>
        <pc:graphicFrameChg chg="add del mod">
          <ac:chgData name="Perez Diaz, Karen" userId="17027623-4de6-4c48-9453-394c2c5804f8" providerId="ADAL" clId="{3D074B42-AEA4-454C-8585-E7FE470A2BF9}" dt="2021-03-29T20:28:32.119" v="660"/>
          <ac:graphicFrameMkLst>
            <pc:docMk/>
            <pc:sldMk cId="735574475" sldId="755"/>
            <ac:graphicFrameMk id="5" creationId="{A232614B-DEF4-47FF-8AF2-58E3C6F32871}"/>
          </ac:graphicFrameMkLst>
        </pc:graphicFrameChg>
        <pc:graphicFrameChg chg="add del mod">
          <ac:chgData name="Perez Diaz, Karen" userId="17027623-4de6-4c48-9453-394c2c5804f8" providerId="ADAL" clId="{3D074B42-AEA4-454C-8585-E7FE470A2BF9}" dt="2021-03-29T20:28:52.088" v="662"/>
          <ac:graphicFrameMkLst>
            <pc:docMk/>
            <pc:sldMk cId="735574475" sldId="755"/>
            <ac:graphicFrameMk id="6" creationId="{29B8EDD5-3698-4B59-95B8-C2CB2F2B6906}"/>
          </ac:graphicFrameMkLst>
        </pc:graphicFrameChg>
        <pc:graphicFrameChg chg="add mod modGraphic">
          <ac:chgData name="Perez Diaz, Karen" userId="17027623-4de6-4c48-9453-394c2c5804f8" providerId="ADAL" clId="{3D074B42-AEA4-454C-8585-E7FE470A2BF9}" dt="2021-03-29T20:31:13.223" v="695" actId="6549"/>
          <ac:graphicFrameMkLst>
            <pc:docMk/>
            <pc:sldMk cId="735574475" sldId="755"/>
            <ac:graphicFrameMk id="7" creationId="{AB5C86C3-59B8-4BB5-84AD-6B0B1C0D7E7F}"/>
          </ac:graphicFrameMkLst>
        </pc:graphicFrameChg>
        <pc:graphicFrameChg chg="add del mod modGraphic">
          <ac:chgData name="Perez Diaz, Karen" userId="17027623-4de6-4c48-9453-394c2c5804f8" providerId="ADAL" clId="{3D074B42-AEA4-454C-8585-E7FE470A2BF9}" dt="2021-03-29T20:33:23.165" v="721"/>
          <ac:graphicFrameMkLst>
            <pc:docMk/>
            <pc:sldMk cId="735574475" sldId="755"/>
            <ac:graphicFrameMk id="8" creationId="{A6BAE6E5-CED5-4A07-9EA5-89FBFA47DEF0}"/>
          </ac:graphicFrameMkLst>
        </pc:graphicFrameChg>
      </pc:sldChg>
      <pc:sldChg chg="addSp delSp modSp add mod">
        <pc:chgData name="Perez Diaz, Karen" userId="17027623-4de6-4c48-9453-394c2c5804f8" providerId="ADAL" clId="{3D074B42-AEA4-454C-8585-E7FE470A2BF9}" dt="2021-03-29T20:40:21.875" v="852" actId="20577"/>
        <pc:sldMkLst>
          <pc:docMk/>
          <pc:sldMk cId="159236654" sldId="756"/>
        </pc:sldMkLst>
        <pc:spChg chg="mod">
          <ac:chgData name="Perez Diaz, Karen" userId="17027623-4de6-4c48-9453-394c2c5804f8" providerId="ADAL" clId="{3D074B42-AEA4-454C-8585-E7FE470A2BF9}" dt="2021-03-29T20:40:21.875" v="852" actId="20577"/>
          <ac:spMkLst>
            <pc:docMk/>
            <pc:sldMk cId="159236654" sldId="756"/>
            <ac:spMk id="2" creationId="{04385547-98E8-45E5-B7CD-FF0E4583064A}"/>
          </ac:spMkLst>
        </pc:spChg>
        <pc:graphicFrameChg chg="add del mod modGraphic">
          <ac:chgData name="Perez Diaz, Karen" userId="17027623-4de6-4c48-9453-394c2c5804f8" providerId="ADAL" clId="{3D074B42-AEA4-454C-8585-E7FE470A2BF9}" dt="2021-03-29T20:34:36.067" v="728"/>
          <ac:graphicFrameMkLst>
            <pc:docMk/>
            <pc:sldMk cId="159236654" sldId="756"/>
            <ac:graphicFrameMk id="3" creationId="{4E6968FA-D371-48F8-8884-A6C66AB3108A}"/>
          </ac:graphicFrameMkLst>
        </pc:graphicFrameChg>
        <pc:graphicFrameChg chg="add mod modGraphic">
          <ac:chgData name="Perez Diaz, Karen" userId="17027623-4de6-4c48-9453-394c2c5804f8" providerId="ADAL" clId="{3D074B42-AEA4-454C-8585-E7FE470A2BF9}" dt="2021-03-29T20:39:45.904" v="828"/>
          <ac:graphicFrameMkLst>
            <pc:docMk/>
            <pc:sldMk cId="159236654" sldId="756"/>
            <ac:graphicFrameMk id="4" creationId="{EFE116FC-4BF9-4DAF-B1E7-29701B258F6F}"/>
          </ac:graphicFrameMkLst>
        </pc:graphicFrameChg>
        <pc:graphicFrameChg chg="del mod">
          <ac:chgData name="Perez Diaz, Karen" userId="17027623-4de6-4c48-9453-394c2c5804f8" providerId="ADAL" clId="{3D074B42-AEA4-454C-8585-E7FE470A2BF9}" dt="2021-03-29T20:34:10.566" v="724" actId="478"/>
          <ac:graphicFrameMkLst>
            <pc:docMk/>
            <pc:sldMk cId="159236654" sldId="756"/>
            <ac:graphicFrameMk id="7" creationId="{AB5C86C3-59B8-4BB5-84AD-6B0B1C0D7E7F}"/>
          </ac:graphicFrameMkLst>
        </pc:graphicFrameChg>
      </pc:sldChg>
      <pc:sldChg chg="addSp delSp modSp add del mod">
        <pc:chgData name="Perez Diaz, Karen" userId="17027623-4de6-4c48-9453-394c2c5804f8" providerId="ADAL" clId="{3D074B42-AEA4-454C-8585-E7FE470A2BF9}" dt="2021-03-29T21:53:06.861" v="1776" actId="1035"/>
        <pc:sldMkLst>
          <pc:docMk/>
          <pc:sldMk cId="1177355284" sldId="757"/>
        </pc:sldMkLst>
        <pc:spChg chg="mod">
          <ac:chgData name="Perez Diaz, Karen" userId="17027623-4de6-4c48-9453-394c2c5804f8" providerId="ADAL" clId="{3D074B42-AEA4-454C-8585-E7FE470A2BF9}" dt="2021-03-29T20:47:55.331" v="1133" actId="20577"/>
          <ac:spMkLst>
            <pc:docMk/>
            <pc:sldMk cId="1177355284" sldId="757"/>
            <ac:spMk id="2" creationId="{04385547-98E8-45E5-B7CD-FF0E4583064A}"/>
          </ac:spMkLst>
        </pc:spChg>
        <pc:spChg chg="add mod">
          <ac:chgData name="Perez Diaz, Karen" userId="17027623-4de6-4c48-9453-394c2c5804f8" providerId="ADAL" clId="{3D074B42-AEA4-454C-8585-E7FE470A2BF9}" dt="2021-03-29T21:20:02.112" v="1308" actId="571"/>
          <ac:spMkLst>
            <pc:docMk/>
            <pc:sldMk cId="1177355284" sldId="757"/>
            <ac:spMk id="7" creationId="{E655F340-AFD6-45F8-B34A-386C33B4C437}"/>
          </ac:spMkLst>
        </pc:spChg>
        <pc:graphicFrameChg chg="add del mod">
          <ac:chgData name="Perez Diaz, Karen" userId="17027623-4de6-4c48-9453-394c2c5804f8" providerId="ADAL" clId="{3D074B42-AEA4-454C-8585-E7FE470A2BF9}" dt="2021-03-29T21:18:58.920" v="1297"/>
          <ac:graphicFrameMkLst>
            <pc:docMk/>
            <pc:sldMk cId="1177355284" sldId="757"/>
            <ac:graphicFrameMk id="3" creationId="{8305F7AD-0DCD-4EC7-8A98-7CB63189B92A}"/>
          </ac:graphicFrameMkLst>
        </pc:graphicFrameChg>
        <pc:graphicFrameChg chg="del">
          <ac:chgData name="Perez Diaz, Karen" userId="17027623-4de6-4c48-9453-394c2c5804f8" providerId="ADAL" clId="{3D074B42-AEA4-454C-8585-E7FE470A2BF9}" dt="2021-03-29T20:53:55.812" v="1295" actId="478"/>
          <ac:graphicFrameMkLst>
            <pc:docMk/>
            <pc:sldMk cId="1177355284" sldId="757"/>
            <ac:graphicFrameMk id="4" creationId="{EFE116FC-4BF9-4DAF-B1E7-29701B258F6F}"/>
          </ac:graphicFrameMkLst>
        </pc:graphicFrameChg>
        <pc:graphicFrameChg chg="add del mod modGraphic">
          <ac:chgData name="Perez Diaz, Karen" userId="17027623-4de6-4c48-9453-394c2c5804f8" providerId="ADAL" clId="{3D074B42-AEA4-454C-8585-E7FE470A2BF9}" dt="2021-03-29T21:19:22.918" v="1303"/>
          <ac:graphicFrameMkLst>
            <pc:docMk/>
            <pc:sldMk cId="1177355284" sldId="757"/>
            <ac:graphicFrameMk id="5" creationId="{F38FF1C2-D89D-4C14-8F21-0C756BC6B302}"/>
          </ac:graphicFrameMkLst>
        </pc:graphicFrameChg>
        <pc:graphicFrameChg chg="add del mod modGraphic">
          <ac:chgData name="Perez Diaz, Karen" userId="17027623-4de6-4c48-9453-394c2c5804f8" providerId="ADAL" clId="{3D074B42-AEA4-454C-8585-E7FE470A2BF9}" dt="2021-03-29T21:21:09.840" v="1316" actId="478"/>
          <ac:graphicFrameMkLst>
            <pc:docMk/>
            <pc:sldMk cId="1177355284" sldId="757"/>
            <ac:graphicFrameMk id="6" creationId="{621A5CC9-B7EB-441B-BDB1-0E3A4FE5CE35}"/>
          </ac:graphicFrameMkLst>
        </pc:graphicFrameChg>
        <pc:graphicFrameChg chg="add mod">
          <ac:chgData name="Perez Diaz, Karen" userId="17027623-4de6-4c48-9453-394c2c5804f8" providerId="ADAL" clId="{3D074B42-AEA4-454C-8585-E7FE470A2BF9}" dt="2021-03-29T21:20:02.112" v="1308" actId="571"/>
          <ac:graphicFrameMkLst>
            <pc:docMk/>
            <pc:sldMk cId="1177355284" sldId="757"/>
            <ac:graphicFrameMk id="8" creationId="{668E50AE-F4FF-4270-ABC7-124454512B2B}"/>
          </ac:graphicFrameMkLst>
        </pc:graphicFrameChg>
        <pc:graphicFrameChg chg="add del mod modGraphic">
          <ac:chgData name="Perez Diaz, Karen" userId="17027623-4de6-4c48-9453-394c2c5804f8" providerId="ADAL" clId="{3D074B42-AEA4-454C-8585-E7FE470A2BF9}" dt="2021-03-29T21:22:36.820" v="1330" actId="478"/>
          <ac:graphicFrameMkLst>
            <pc:docMk/>
            <pc:sldMk cId="1177355284" sldId="757"/>
            <ac:graphicFrameMk id="9" creationId="{B883716B-4AA7-4976-8E97-4AD1C00DF460}"/>
          </ac:graphicFrameMkLst>
        </pc:graphicFrameChg>
        <pc:graphicFrameChg chg="add del mod modGraphic">
          <ac:chgData name="Perez Diaz, Karen" userId="17027623-4de6-4c48-9453-394c2c5804f8" providerId="ADAL" clId="{3D074B42-AEA4-454C-8585-E7FE470A2BF9}" dt="2021-03-29T21:24:45.953" v="1334" actId="478"/>
          <ac:graphicFrameMkLst>
            <pc:docMk/>
            <pc:sldMk cId="1177355284" sldId="757"/>
            <ac:graphicFrameMk id="10" creationId="{CEE9AC3C-16AE-4D07-BC83-966A164AFBDA}"/>
          </ac:graphicFrameMkLst>
        </pc:graphicFrameChg>
        <pc:graphicFrameChg chg="add del mod modGraphic">
          <ac:chgData name="Perez Diaz, Karen" userId="17027623-4de6-4c48-9453-394c2c5804f8" providerId="ADAL" clId="{3D074B42-AEA4-454C-8585-E7FE470A2BF9}" dt="2021-03-29T21:26:08.291" v="1345" actId="478"/>
          <ac:graphicFrameMkLst>
            <pc:docMk/>
            <pc:sldMk cId="1177355284" sldId="757"/>
            <ac:graphicFrameMk id="11" creationId="{DEAE6A23-E4B4-44A3-BFA8-257451B69860}"/>
          </ac:graphicFrameMkLst>
        </pc:graphicFrameChg>
        <pc:graphicFrameChg chg="add del mod">
          <ac:chgData name="Perez Diaz, Karen" userId="17027623-4de6-4c48-9453-394c2c5804f8" providerId="ADAL" clId="{3D074B42-AEA4-454C-8585-E7FE470A2BF9}" dt="2021-03-29T21:26:24.522" v="1347"/>
          <ac:graphicFrameMkLst>
            <pc:docMk/>
            <pc:sldMk cId="1177355284" sldId="757"/>
            <ac:graphicFrameMk id="12" creationId="{34749DCD-BDDB-4CF4-9834-7FC0A7BE245E}"/>
          </ac:graphicFrameMkLst>
        </pc:graphicFrameChg>
        <pc:graphicFrameChg chg="add del mod modGraphic">
          <ac:chgData name="Perez Diaz, Karen" userId="17027623-4de6-4c48-9453-394c2c5804f8" providerId="ADAL" clId="{3D074B42-AEA4-454C-8585-E7FE470A2BF9}" dt="2021-03-29T21:31:10.792" v="1399" actId="478"/>
          <ac:graphicFrameMkLst>
            <pc:docMk/>
            <pc:sldMk cId="1177355284" sldId="757"/>
            <ac:graphicFrameMk id="13" creationId="{83D359B4-BBBA-4A9A-89F9-C81F898BAE25}"/>
          </ac:graphicFrameMkLst>
        </pc:graphicFrameChg>
        <pc:graphicFrameChg chg="add del mod modGraphic">
          <ac:chgData name="Perez Diaz, Karen" userId="17027623-4de6-4c48-9453-394c2c5804f8" providerId="ADAL" clId="{3D074B42-AEA4-454C-8585-E7FE470A2BF9}" dt="2021-03-29T21:37:16.100" v="1484" actId="478"/>
          <ac:graphicFrameMkLst>
            <pc:docMk/>
            <pc:sldMk cId="1177355284" sldId="757"/>
            <ac:graphicFrameMk id="14" creationId="{DFF21036-888E-4D2C-9716-758DCB9D8E5C}"/>
          </ac:graphicFrameMkLst>
        </pc:graphicFrameChg>
        <pc:graphicFrameChg chg="add del mod modGraphic">
          <ac:chgData name="Perez Diaz, Karen" userId="17027623-4de6-4c48-9453-394c2c5804f8" providerId="ADAL" clId="{3D074B42-AEA4-454C-8585-E7FE470A2BF9}" dt="2021-03-29T21:37:20.431" v="1486" actId="478"/>
          <ac:graphicFrameMkLst>
            <pc:docMk/>
            <pc:sldMk cId="1177355284" sldId="757"/>
            <ac:graphicFrameMk id="15" creationId="{777D441D-3C95-4EC4-894A-12B4B9092B3E}"/>
          </ac:graphicFrameMkLst>
        </pc:graphicFrameChg>
        <pc:graphicFrameChg chg="add del mod modGraphic">
          <ac:chgData name="Perez Diaz, Karen" userId="17027623-4de6-4c48-9453-394c2c5804f8" providerId="ADAL" clId="{3D074B42-AEA4-454C-8585-E7FE470A2BF9}" dt="2021-03-29T21:38:39.453" v="1508" actId="478"/>
          <ac:graphicFrameMkLst>
            <pc:docMk/>
            <pc:sldMk cId="1177355284" sldId="757"/>
            <ac:graphicFrameMk id="16" creationId="{74082665-4C4A-4ACD-BCB1-68F1E119D449}"/>
          </ac:graphicFrameMkLst>
        </pc:graphicFrameChg>
        <pc:graphicFrameChg chg="add mod modGraphic">
          <ac:chgData name="Perez Diaz, Karen" userId="17027623-4de6-4c48-9453-394c2c5804f8" providerId="ADAL" clId="{3D074B42-AEA4-454C-8585-E7FE470A2BF9}" dt="2021-03-29T21:51:19.718" v="1764" actId="20577"/>
          <ac:graphicFrameMkLst>
            <pc:docMk/>
            <pc:sldMk cId="1177355284" sldId="757"/>
            <ac:graphicFrameMk id="17" creationId="{5BA0AB9F-8F9E-4C36-9134-68A5DF20ABE3}"/>
          </ac:graphicFrameMkLst>
        </pc:graphicFrameChg>
        <pc:graphicFrameChg chg="add mod modGraphic">
          <ac:chgData name="Perez Diaz, Karen" userId="17027623-4de6-4c48-9453-394c2c5804f8" providerId="ADAL" clId="{3D074B42-AEA4-454C-8585-E7FE470A2BF9}" dt="2021-03-29T21:53:06.861" v="1776" actId="1035"/>
          <ac:graphicFrameMkLst>
            <pc:docMk/>
            <pc:sldMk cId="1177355284" sldId="757"/>
            <ac:graphicFrameMk id="18" creationId="{7A47E7A9-E1FE-471A-8B59-E9BC4BB72360}"/>
          </ac:graphicFrameMkLst>
        </pc:graphicFrameChg>
        <pc:graphicFrameChg chg="add mod">
          <ac:chgData name="Perez Diaz, Karen" userId="17027623-4de6-4c48-9453-394c2c5804f8" providerId="ADAL" clId="{3D074B42-AEA4-454C-8585-E7FE470A2BF9}" dt="2021-03-29T21:42:47.291" v="1590" actId="571"/>
          <ac:graphicFrameMkLst>
            <pc:docMk/>
            <pc:sldMk cId="1177355284" sldId="757"/>
            <ac:graphicFrameMk id="19" creationId="{F524CBA7-9502-49AA-A65A-28021D8EA7A3}"/>
          </ac:graphicFrameMkLst>
        </pc:graphicFrameChg>
      </pc:sldChg>
      <pc:sldChg chg="addSp delSp modSp add mod">
        <pc:chgData name="Perez Diaz, Karen" userId="17027623-4de6-4c48-9453-394c2c5804f8" providerId="ADAL" clId="{3D074B42-AEA4-454C-8585-E7FE470A2BF9}" dt="2021-03-29T21:53:33.085" v="1778" actId="20577"/>
        <pc:sldMkLst>
          <pc:docMk/>
          <pc:sldMk cId="3220359219" sldId="758"/>
        </pc:sldMkLst>
        <pc:spChg chg="mod">
          <ac:chgData name="Perez Diaz, Karen" userId="17027623-4de6-4c48-9453-394c2c5804f8" providerId="ADAL" clId="{3D074B42-AEA4-454C-8585-E7FE470A2BF9}" dt="2021-03-29T20:46:40.867" v="1126" actId="20577"/>
          <ac:spMkLst>
            <pc:docMk/>
            <pc:sldMk cId="3220359219" sldId="758"/>
            <ac:spMk id="2" creationId="{AECEAB9A-4052-4EF4-B24B-BD317033D159}"/>
          </ac:spMkLst>
        </pc:spChg>
        <pc:spChg chg="mod">
          <ac:chgData name="Perez Diaz, Karen" userId="17027623-4de6-4c48-9453-394c2c5804f8" providerId="ADAL" clId="{3D074B42-AEA4-454C-8585-E7FE470A2BF9}" dt="2021-03-29T20:49:22.256" v="1168" actId="20577"/>
          <ac:spMkLst>
            <pc:docMk/>
            <pc:sldMk cId="3220359219" sldId="758"/>
            <ac:spMk id="3" creationId="{A2A7ACBE-BDCD-4F26-956E-BBAF98176ED7}"/>
          </ac:spMkLst>
        </pc:spChg>
        <pc:spChg chg="mod">
          <ac:chgData name="Perez Diaz, Karen" userId="17027623-4de6-4c48-9453-394c2c5804f8" providerId="ADAL" clId="{3D074B42-AEA4-454C-8585-E7FE470A2BF9}" dt="2021-03-29T21:53:33.085" v="1778" actId="20577"/>
          <ac:spMkLst>
            <pc:docMk/>
            <pc:sldMk cId="3220359219" sldId="758"/>
            <ac:spMk id="4" creationId="{3391FEEF-F27B-41D9-B582-F93BB491DB23}"/>
          </ac:spMkLst>
        </pc:spChg>
        <pc:graphicFrameChg chg="del">
          <ac:chgData name="Perez Diaz, Karen" userId="17027623-4de6-4c48-9453-394c2c5804f8" providerId="ADAL" clId="{3D074B42-AEA4-454C-8585-E7FE470A2BF9}" dt="2021-03-29T20:48:58.410" v="1159" actId="478"/>
          <ac:graphicFrameMkLst>
            <pc:docMk/>
            <pc:sldMk cId="3220359219" sldId="758"/>
            <ac:graphicFrameMk id="5" creationId="{CFFC21C1-D8DC-44A8-8916-D41D38B0EE0C}"/>
          </ac:graphicFrameMkLst>
        </pc:graphicFrameChg>
        <pc:graphicFrameChg chg="add del mod modGraphic">
          <ac:chgData name="Perez Diaz, Karen" userId="17027623-4de6-4c48-9453-394c2c5804f8" providerId="ADAL" clId="{3D074B42-AEA4-454C-8585-E7FE470A2BF9}" dt="2021-03-29T20:49:51.089" v="1174"/>
          <ac:graphicFrameMkLst>
            <pc:docMk/>
            <pc:sldMk cId="3220359219" sldId="758"/>
            <ac:graphicFrameMk id="6" creationId="{13FACC56-C21B-42F6-9712-CCDB9D96AD2F}"/>
          </ac:graphicFrameMkLst>
        </pc:graphicFrameChg>
        <pc:graphicFrameChg chg="add mod modGraphic">
          <ac:chgData name="Perez Diaz, Karen" userId="17027623-4de6-4c48-9453-394c2c5804f8" providerId="ADAL" clId="{3D074B42-AEA4-454C-8585-E7FE470A2BF9}" dt="2021-03-29T20:50:45.857" v="1184"/>
          <ac:graphicFrameMkLst>
            <pc:docMk/>
            <pc:sldMk cId="3220359219" sldId="758"/>
            <ac:graphicFrameMk id="7" creationId="{D581B14C-E850-4EAA-8DC7-949294E4861B}"/>
          </ac:graphicFrameMkLst>
        </pc:graphicFrameChg>
      </pc:sldChg>
      <pc:sldChg chg="addSp delSp modSp new mod">
        <pc:chgData name="Perez Diaz, Karen" userId="17027623-4de6-4c48-9453-394c2c5804f8" providerId="ADAL" clId="{3D074B42-AEA4-454C-8585-E7FE470A2BF9}" dt="2021-03-29T22:08:59.798" v="2297" actId="20577"/>
        <pc:sldMkLst>
          <pc:docMk/>
          <pc:sldMk cId="2687953584" sldId="759"/>
        </pc:sldMkLst>
        <pc:spChg chg="mod">
          <ac:chgData name="Perez Diaz, Karen" userId="17027623-4de6-4c48-9453-394c2c5804f8" providerId="ADAL" clId="{3D074B42-AEA4-454C-8585-E7FE470A2BF9}" dt="2021-03-29T21:58:37.415" v="1831" actId="20577"/>
          <ac:spMkLst>
            <pc:docMk/>
            <pc:sldMk cId="2687953584" sldId="759"/>
            <ac:spMk id="2" creationId="{21A94713-F59B-4DC8-8769-45519439120C}"/>
          </ac:spMkLst>
        </pc:spChg>
        <pc:spChg chg="add del mod">
          <ac:chgData name="Perez Diaz, Karen" userId="17027623-4de6-4c48-9453-394c2c5804f8" providerId="ADAL" clId="{3D074B42-AEA4-454C-8585-E7FE470A2BF9}" dt="2021-03-29T22:08:59.798" v="2297" actId="20577"/>
          <ac:spMkLst>
            <pc:docMk/>
            <pc:sldMk cId="2687953584" sldId="759"/>
            <ac:spMk id="3" creationId="{384271D1-284E-42C0-A1FC-64F24F41D3A5}"/>
          </ac:spMkLst>
        </pc:spChg>
        <pc:spChg chg="add del">
          <ac:chgData name="Perez Diaz, Karen" userId="17027623-4de6-4c48-9453-394c2c5804f8" providerId="ADAL" clId="{3D074B42-AEA4-454C-8585-E7FE470A2BF9}" dt="2021-03-29T21:58:19.724" v="1786"/>
          <ac:spMkLst>
            <pc:docMk/>
            <pc:sldMk cId="2687953584" sldId="759"/>
            <ac:spMk id="5" creationId="{3346F7B0-2A99-4D1F-B6D0-60CF9E7B6329}"/>
          </ac:spMkLst>
        </pc:spChg>
        <pc:spChg chg="add del mod">
          <ac:chgData name="Perez Diaz, Karen" userId="17027623-4de6-4c48-9453-394c2c5804f8" providerId="ADAL" clId="{3D074B42-AEA4-454C-8585-E7FE470A2BF9}" dt="2021-03-29T22:06:23.814" v="2079"/>
          <ac:spMkLst>
            <pc:docMk/>
            <pc:sldMk cId="2687953584" sldId="759"/>
            <ac:spMk id="7" creationId="{C90DBFC2-689F-4FB3-A4F0-5A0382D1FDCE}"/>
          </ac:spMkLst>
        </pc:spChg>
        <pc:graphicFrameChg chg="add del mod">
          <ac:chgData name="Perez Diaz, Karen" userId="17027623-4de6-4c48-9453-394c2c5804f8" providerId="ADAL" clId="{3D074B42-AEA4-454C-8585-E7FE470A2BF9}" dt="2021-03-29T21:58:19.724" v="1786"/>
          <ac:graphicFrameMkLst>
            <pc:docMk/>
            <pc:sldMk cId="2687953584" sldId="759"/>
            <ac:graphicFrameMk id="4" creationId="{FC52308B-A68D-480A-9D64-08B716E0619C}"/>
          </ac:graphicFrameMkLst>
        </pc:graphicFrameChg>
        <pc:graphicFrameChg chg="add mod">
          <ac:chgData name="Perez Diaz, Karen" userId="17027623-4de6-4c48-9453-394c2c5804f8" providerId="ADAL" clId="{3D074B42-AEA4-454C-8585-E7FE470A2BF9}" dt="2021-03-29T22:05:13.951" v="2015" actId="1076"/>
          <ac:graphicFrameMkLst>
            <pc:docMk/>
            <pc:sldMk cId="2687953584" sldId="759"/>
            <ac:graphicFrameMk id="6" creationId="{D3664D7F-0A45-46CB-8FED-4E8FFE29E40A}"/>
          </ac:graphicFrameMkLst>
        </pc:graphicFrameChg>
      </pc:sldChg>
    </pc:docChg>
  </pc:docChgLst>
  <pc:docChgLst>
    <pc:chgData name="Perez Diaz, Karen" userId="17027623-4de6-4c48-9453-394c2c5804f8" providerId="ADAL" clId="{3501B791-9F75-4F54-BBE5-BF4EED0C480C}"/>
    <pc:docChg chg="modSld">
      <pc:chgData name="Perez Diaz, Karen" userId="17027623-4de6-4c48-9453-394c2c5804f8" providerId="ADAL" clId="{3501B791-9F75-4F54-BBE5-BF4EED0C480C}" dt="2021-03-30T15:30:44.144" v="29" actId="6549"/>
      <pc:docMkLst>
        <pc:docMk/>
      </pc:docMkLst>
      <pc:sldChg chg="modSp mod">
        <pc:chgData name="Perez Diaz, Karen" userId="17027623-4de6-4c48-9453-394c2c5804f8" providerId="ADAL" clId="{3501B791-9F75-4F54-BBE5-BF4EED0C480C}" dt="2021-03-30T15:30:44.144" v="29" actId="6549"/>
        <pc:sldMkLst>
          <pc:docMk/>
          <pc:sldMk cId="313541378" sldId="754"/>
        </pc:sldMkLst>
        <pc:spChg chg="mod">
          <ac:chgData name="Perez Diaz, Karen" userId="17027623-4de6-4c48-9453-394c2c5804f8" providerId="ADAL" clId="{3501B791-9F75-4F54-BBE5-BF4EED0C480C}" dt="2021-03-30T15:30:44.144" v="29" actId="6549"/>
          <ac:spMkLst>
            <pc:docMk/>
            <pc:sldMk cId="313541378" sldId="754"/>
            <ac:spMk id="4" creationId="{3391FEEF-F27B-41D9-B582-F93BB491DB23}"/>
          </ac:spMkLst>
        </pc:spChg>
      </pc:sldChg>
      <pc:sldChg chg="modSp mod">
        <pc:chgData name="Perez Diaz, Karen" userId="17027623-4de6-4c48-9453-394c2c5804f8" providerId="ADAL" clId="{3501B791-9F75-4F54-BBE5-BF4EED0C480C}" dt="2021-03-30T14:51:03.343" v="26" actId="20577"/>
        <pc:sldMkLst>
          <pc:docMk/>
          <pc:sldMk cId="159236654" sldId="756"/>
        </pc:sldMkLst>
        <pc:graphicFrameChg chg="modGraphic">
          <ac:chgData name="Perez Diaz, Karen" userId="17027623-4de6-4c48-9453-394c2c5804f8" providerId="ADAL" clId="{3501B791-9F75-4F54-BBE5-BF4EED0C480C}" dt="2021-03-30T14:51:03.343" v="26" actId="20577"/>
          <ac:graphicFrameMkLst>
            <pc:docMk/>
            <pc:sldMk cId="159236654" sldId="756"/>
            <ac:graphicFrameMk id="4" creationId="{EFE116FC-4BF9-4DAF-B1E7-29701B258F6F}"/>
          </ac:graphicFrameMkLst>
        </pc:graphicFrameChg>
      </pc:sldChg>
      <pc:sldChg chg="modSp mod">
        <pc:chgData name="Perez Diaz, Karen" userId="17027623-4de6-4c48-9453-394c2c5804f8" providerId="ADAL" clId="{3501B791-9F75-4F54-BBE5-BF4EED0C480C}" dt="2021-03-30T15:20:35.908" v="28" actId="113"/>
        <pc:sldMkLst>
          <pc:docMk/>
          <pc:sldMk cId="2687953584" sldId="759"/>
        </pc:sldMkLst>
        <pc:spChg chg="mod">
          <ac:chgData name="Perez Diaz, Karen" userId="17027623-4de6-4c48-9453-394c2c5804f8" providerId="ADAL" clId="{3501B791-9F75-4F54-BBE5-BF4EED0C480C}" dt="2021-03-30T14:49:59.660" v="0" actId="13926"/>
          <ac:spMkLst>
            <pc:docMk/>
            <pc:sldMk cId="2687953584" sldId="759"/>
            <ac:spMk id="3" creationId="{384271D1-284E-42C0-A1FC-64F24F41D3A5}"/>
          </ac:spMkLst>
        </pc:spChg>
        <pc:graphicFrameChg chg="modGraphic">
          <ac:chgData name="Perez Diaz, Karen" userId="17027623-4de6-4c48-9453-394c2c5804f8" providerId="ADAL" clId="{3501B791-9F75-4F54-BBE5-BF4EED0C480C}" dt="2021-03-30T15:20:35.908" v="28" actId="113"/>
          <ac:graphicFrameMkLst>
            <pc:docMk/>
            <pc:sldMk cId="2687953584" sldId="759"/>
            <ac:graphicFrameMk id="6" creationId="{D3664D7F-0A45-46CB-8FED-4E8FFE29E40A}"/>
          </ac:graphicFrameMkLst>
        </pc:graphicFrameChg>
      </pc:sldChg>
    </pc:docChg>
  </pc:docChgLst>
  <pc:docChgLst>
    <pc:chgData name="Perez Diaz, Karen" userId="17027623-4de6-4c48-9453-394c2c5804f8" providerId="ADAL" clId="{125B4060-2B6F-4057-BBAC-C886486E54D1}"/>
    <pc:docChg chg="undo custSel addSld delSld modSld sldOrd">
      <pc:chgData name="Perez Diaz, Karen" userId="17027623-4de6-4c48-9453-394c2c5804f8" providerId="ADAL" clId="{125B4060-2B6F-4057-BBAC-C886486E54D1}" dt="2021-02-04T20:20:43.536" v="768" actId="6549"/>
      <pc:docMkLst>
        <pc:docMk/>
      </pc:docMkLst>
      <pc:sldChg chg="addSp delSp modSp add del">
        <pc:chgData name="Perez Diaz, Karen" userId="17027623-4de6-4c48-9453-394c2c5804f8" providerId="ADAL" clId="{125B4060-2B6F-4057-BBAC-C886486E54D1}" dt="2021-02-04T20:12:18.533" v="665" actId="2696"/>
        <pc:sldMkLst>
          <pc:docMk/>
          <pc:sldMk cId="1131813830" sldId="298"/>
        </pc:sldMkLst>
        <pc:spChg chg="add del mod">
          <ac:chgData name="Perez Diaz, Karen" userId="17027623-4de6-4c48-9453-394c2c5804f8" providerId="ADAL" clId="{125B4060-2B6F-4057-BBAC-C886486E54D1}" dt="2021-02-04T20:11:28.398" v="659" actId="478"/>
          <ac:spMkLst>
            <pc:docMk/>
            <pc:sldMk cId="1131813830" sldId="298"/>
            <ac:spMk id="2" creationId="{00000000-0000-0000-0000-000000000000}"/>
          </ac:spMkLst>
        </pc:spChg>
        <pc:spChg chg="del mod">
          <ac:chgData name="Perez Diaz, Karen" userId="17027623-4de6-4c48-9453-394c2c5804f8" providerId="ADAL" clId="{125B4060-2B6F-4057-BBAC-C886486E54D1}" dt="2021-02-04T19:51:55.354" v="314" actId="478"/>
          <ac:spMkLst>
            <pc:docMk/>
            <pc:sldMk cId="1131813830" sldId="298"/>
            <ac:spMk id="3" creationId="{00000000-0000-0000-0000-000000000000}"/>
          </ac:spMkLst>
        </pc:spChg>
        <pc:spChg chg="del topLvl">
          <ac:chgData name="Perez Diaz, Karen" userId="17027623-4de6-4c48-9453-394c2c5804f8" providerId="ADAL" clId="{125B4060-2B6F-4057-BBAC-C886486E54D1}" dt="2021-02-04T19:45:28.767" v="41" actId="478"/>
          <ac:spMkLst>
            <pc:docMk/>
            <pc:sldMk cId="1131813830" sldId="298"/>
            <ac:spMk id="7" creationId="{00000000-0000-0000-0000-000000000000}"/>
          </ac:spMkLst>
        </pc:spChg>
        <pc:spChg chg="del topLvl">
          <ac:chgData name="Perez Diaz, Karen" userId="17027623-4de6-4c48-9453-394c2c5804f8" providerId="ADAL" clId="{125B4060-2B6F-4057-BBAC-C886486E54D1}" dt="2021-02-04T19:45:31.225" v="42" actId="478"/>
          <ac:spMkLst>
            <pc:docMk/>
            <pc:sldMk cId="1131813830" sldId="298"/>
            <ac:spMk id="8" creationId="{00000000-0000-0000-0000-000000000000}"/>
          </ac:spMkLst>
        </pc:spChg>
        <pc:spChg chg="add del">
          <ac:chgData name="Perez Diaz, Karen" userId="17027623-4de6-4c48-9453-394c2c5804f8" providerId="ADAL" clId="{125B4060-2B6F-4057-BBAC-C886486E54D1}" dt="2021-02-04T20:11:29.247" v="660"/>
          <ac:spMkLst>
            <pc:docMk/>
            <pc:sldMk cId="1131813830" sldId="298"/>
            <ac:spMk id="9" creationId="{EF76125A-0A11-48DE-BBB9-FBCE60E6ED45}"/>
          </ac:spMkLst>
        </pc:spChg>
        <pc:spChg chg="add del mod">
          <ac:chgData name="Perez Diaz, Karen" userId="17027623-4de6-4c48-9453-394c2c5804f8" providerId="ADAL" clId="{125B4060-2B6F-4057-BBAC-C886486E54D1}" dt="2021-02-04T20:11:28.398" v="659" actId="478"/>
          <ac:spMkLst>
            <pc:docMk/>
            <pc:sldMk cId="1131813830" sldId="298"/>
            <ac:spMk id="11" creationId="{9AA0D901-8BDE-47AF-B0FF-32FA4B610175}"/>
          </ac:spMkLst>
        </pc:spChg>
        <pc:grpChg chg="del">
          <ac:chgData name="Perez Diaz, Karen" userId="17027623-4de6-4c48-9453-394c2c5804f8" providerId="ADAL" clId="{125B4060-2B6F-4057-BBAC-C886486E54D1}" dt="2021-02-04T19:45:28.767" v="41" actId="478"/>
          <ac:grpSpMkLst>
            <pc:docMk/>
            <pc:sldMk cId="1131813830" sldId="298"/>
            <ac:grpSpMk id="6" creationId="{00000000-0000-0000-0000-000000000000}"/>
          </ac:grpSpMkLst>
        </pc:grpChg>
        <pc:graphicFrameChg chg="mod modGraphic">
          <ac:chgData name="Perez Diaz, Karen" userId="17027623-4de6-4c48-9453-394c2c5804f8" providerId="ADAL" clId="{125B4060-2B6F-4057-BBAC-C886486E54D1}" dt="2021-02-04T20:10:21.458" v="651" actId="255"/>
          <ac:graphicFrameMkLst>
            <pc:docMk/>
            <pc:sldMk cId="1131813830" sldId="298"/>
            <ac:graphicFrameMk id="5" creationId="{70F9371E-F78A-4060-92E1-259C0C348C60}"/>
          </ac:graphicFrameMkLst>
        </pc:graphicFrameChg>
      </pc:sldChg>
      <pc:sldChg chg="modSp del ord">
        <pc:chgData name="Perez Diaz, Karen" userId="17027623-4de6-4c48-9453-394c2c5804f8" providerId="ADAL" clId="{125B4060-2B6F-4057-BBAC-C886486E54D1}" dt="2021-02-04T20:17:02.134" v="692" actId="2696"/>
        <pc:sldMkLst>
          <pc:docMk/>
          <pc:sldMk cId="1278736077" sldId="660"/>
        </pc:sldMkLst>
        <pc:graphicFrameChg chg="mod modGraphic">
          <ac:chgData name="Perez Diaz, Karen" userId="17027623-4de6-4c48-9453-394c2c5804f8" providerId="ADAL" clId="{125B4060-2B6F-4057-BBAC-C886486E54D1}" dt="2021-02-04T20:10:36.860" v="653" actId="14734"/>
          <ac:graphicFrameMkLst>
            <pc:docMk/>
            <pc:sldMk cId="1278736077" sldId="660"/>
            <ac:graphicFrameMk id="4" creationId="{00000000-0000-0000-0000-000000000000}"/>
          </ac:graphicFrameMkLst>
        </pc:graphicFrameChg>
      </pc:sldChg>
      <pc:sldChg chg="del">
        <pc:chgData name="Perez Diaz, Karen" userId="17027623-4de6-4c48-9453-394c2c5804f8" providerId="ADAL" clId="{125B4060-2B6F-4057-BBAC-C886486E54D1}" dt="2021-02-04T19:37:54.536" v="0" actId="2696"/>
        <pc:sldMkLst>
          <pc:docMk/>
          <pc:sldMk cId="240251484" sldId="742"/>
        </pc:sldMkLst>
      </pc:sldChg>
      <pc:sldChg chg="modSp add">
        <pc:chgData name="Perez Diaz, Karen" userId="17027623-4de6-4c48-9453-394c2c5804f8" providerId="ADAL" clId="{125B4060-2B6F-4057-BBAC-C886486E54D1}" dt="2021-02-04T20:18:06.252" v="707" actId="20577"/>
        <pc:sldMkLst>
          <pc:docMk/>
          <pc:sldMk cId="3777260829" sldId="742"/>
        </pc:sldMkLst>
        <pc:spChg chg="mod">
          <ac:chgData name="Perez Diaz, Karen" userId="17027623-4de6-4c48-9453-394c2c5804f8" providerId="ADAL" clId="{125B4060-2B6F-4057-BBAC-C886486E54D1}" dt="2021-02-04T20:18:06.252" v="707" actId="20577"/>
          <ac:spMkLst>
            <pc:docMk/>
            <pc:sldMk cId="3777260829" sldId="742"/>
            <ac:spMk id="2" creationId="{EEB2DB48-F55E-46AE-9540-691925464E4C}"/>
          </ac:spMkLst>
        </pc:spChg>
      </pc:sldChg>
      <pc:sldChg chg="modSp add">
        <pc:chgData name="Perez Diaz, Karen" userId="17027623-4de6-4c48-9453-394c2c5804f8" providerId="ADAL" clId="{125B4060-2B6F-4057-BBAC-C886486E54D1}" dt="2021-02-04T20:17:52.677" v="706" actId="20577"/>
        <pc:sldMkLst>
          <pc:docMk/>
          <pc:sldMk cId="508018380" sldId="748"/>
        </pc:sldMkLst>
        <pc:spChg chg="mod">
          <ac:chgData name="Perez Diaz, Karen" userId="17027623-4de6-4c48-9453-394c2c5804f8" providerId="ADAL" clId="{125B4060-2B6F-4057-BBAC-C886486E54D1}" dt="2021-02-04T20:17:52.677" v="706" actId="20577"/>
          <ac:spMkLst>
            <pc:docMk/>
            <pc:sldMk cId="508018380" sldId="748"/>
            <ac:spMk id="2" creationId="{EEB2DB48-F55E-46AE-9540-691925464E4C}"/>
          </ac:spMkLst>
        </pc:spChg>
      </pc:sldChg>
      <pc:sldChg chg="del">
        <pc:chgData name="Perez Diaz, Karen" userId="17027623-4de6-4c48-9453-394c2c5804f8" providerId="ADAL" clId="{125B4060-2B6F-4057-BBAC-C886486E54D1}" dt="2021-02-04T19:37:54.551" v="1" actId="2696"/>
        <pc:sldMkLst>
          <pc:docMk/>
          <pc:sldMk cId="1470794818" sldId="748"/>
        </pc:sldMkLst>
      </pc:sldChg>
      <pc:sldChg chg="delSp modSp">
        <pc:chgData name="Perez Diaz, Karen" userId="17027623-4de6-4c48-9453-394c2c5804f8" providerId="ADAL" clId="{125B4060-2B6F-4057-BBAC-C886486E54D1}" dt="2021-02-04T20:03:09.048" v="370" actId="14100"/>
        <pc:sldMkLst>
          <pc:docMk/>
          <pc:sldMk cId="3266835802" sldId="750"/>
        </pc:sldMkLst>
        <pc:spChg chg="mod topLvl">
          <ac:chgData name="Perez Diaz, Karen" userId="17027623-4de6-4c48-9453-394c2c5804f8" providerId="ADAL" clId="{125B4060-2B6F-4057-BBAC-C886486E54D1}" dt="2021-02-04T20:02:13.236" v="359" actId="165"/>
          <ac:spMkLst>
            <pc:docMk/>
            <pc:sldMk cId="3266835802" sldId="750"/>
            <ac:spMk id="12" creationId="{FE80D894-D049-4249-89C3-2CB429A7EF23}"/>
          </ac:spMkLst>
        </pc:spChg>
        <pc:spChg chg="mod topLvl">
          <ac:chgData name="Perez Diaz, Karen" userId="17027623-4de6-4c48-9453-394c2c5804f8" providerId="ADAL" clId="{125B4060-2B6F-4057-BBAC-C886486E54D1}" dt="2021-02-04T20:02:13.236" v="359" actId="165"/>
          <ac:spMkLst>
            <pc:docMk/>
            <pc:sldMk cId="3266835802" sldId="750"/>
            <ac:spMk id="14" creationId="{F6B3E33B-279A-4B57-A0C7-AFD4CB2BA78F}"/>
          </ac:spMkLst>
        </pc:spChg>
        <pc:spChg chg="mod topLvl">
          <ac:chgData name="Perez Diaz, Karen" userId="17027623-4de6-4c48-9453-394c2c5804f8" providerId="ADAL" clId="{125B4060-2B6F-4057-BBAC-C886486E54D1}" dt="2021-02-04T20:02:16.760" v="360" actId="165"/>
          <ac:spMkLst>
            <pc:docMk/>
            <pc:sldMk cId="3266835802" sldId="750"/>
            <ac:spMk id="151" creationId="{362265E2-6FD2-4518-A49E-124076CDC4AE}"/>
          </ac:spMkLst>
        </pc:spChg>
        <pc:spChg chg="mod topLvl">
          <ac:chgData name="Perez Diaz, Karen" userId="17027623-4de6-4c48-9453-394c2c5804f8" providerId="ADAL" clId="{125B4060-2B6F-4057-BBAC-C886486E54D1}" dt="2021-02-04T20:02:16.760" v="360" actId="165"/>
          <ac:spMkLst>
            <pc:docMk/>
            <pc:sldMk cId="3266835802" sldId="750"/>
            <ac:spMk id="152" creationId="{4A0E57FF-B63F-4ABD-BE47-3262089633DC}"/>
          </ac:spMkLst>
        </pc:spChg>
        <pc:grpChg chg="mod topLvl">
          <ac:chgData name="Perez Diaz, Karen" userId="17027623-4de6-4c48-9453-394c2c5804f8" providerId="ADAL" clId="{125B4060-2B6F-4057-BBAC-C886486E54D1}" dt="2021-02-04T20:02:33.840" v="369" actId="1038"/>
          <ac:grpSpMkLst>
            <pc:docMk/>
            <pc:sldMk cId="3266835802" sldId="750"/>
            <ac:grpSpMk id="44" creationId="{309C656C-07A6-4CB9-A6F1-98F2437FD1D2}"/>
          </ac:grpSpMkLst>
        </pc:grpChg>
        <pc:grpChg chg="del">
          <ac:chgData name="Perez Diaz, Karen" userId="17027623-4de6-4c48-9453-394c2c5804f8" providerId="ADAL" clId="{125B4060-2B6F-4057-BBAC-C886486E54D1}" dt="2021-02-04T20:02:13.236" v="359" actId="165"/>
          <ac:grpSpMkLst>
            <pc:docMk/>
            <pc:sldMk cId="3266835802" sldId="750"/>
            <ac:grpSpMk id="46" creationId="{29DC4481-8BE0-409E-BF4B-E164188DC5BC}"/>
          </ac:grpSpMkLst>
        </pc:grpChg>
        <pc:grpChg chg="del">
          <ac:chgData name="Perez Diaz, Karen" userId="17027623-4de6-4c48-9453-394c2c5804f8" providerId="ADAL" clId="{125B4060-2B6F-4057-BBAC-C886486E54D1}" dt="2021-02-04T20:02:16.760" v="360" actId="165"/>
          <ac:grpSpMkLst>
            <pc:docMk/>
            <pc:sldMk cId="3266835802" sldId="750"/>
            <ac:grpSpMk id="150" creationId="{BB52C84E-B598-4330-992D-62D2F219AAD5}"/>
          </ac:grpSpMkLst>
        </pc:grpChg>
        <pc:grpChg chg="mod topLvl">
          <ac:chgData name="Perez Diaz, Karen" userId="17027623-4de6-4c48-9453-394c2c5804f8" providerId="ADAL" clId="{125B4060-2B6F-4057-BBAC-C886486E54D1}" dt="2021-02-04T20:02:33.840" v="369" actId="1038"/>
          <ac:grpSpMkLst>
            <pc:docMk/>
            <pc:sldMk cId="3266835802" sldId="750"/>
            <ac:grpSpMk id="156" creationId="{0C64742B-27AD-4923-8FF7-8C15DDA3E47C}"/>
          </ac:grpSpMkLst>
        </pc:grpChg>
        <pc:grpChg chg="mod topLvl">
          <ac:chgData name="Perez Diaz, Karen" userId="17027623-4de6-4c48-9453-394c2c5804f8" providerId="ADAL" clId="{125B4060-2B6F-4057-BBAC-C886486E54D1}" dt="2021-02-04T20:02:16.760" v="360" actId="165"/>
          <ac:grpSpMkLst>
            <pc:docMk/>
            <pc:sldMk cId="3266835802" sldId="750"/>
            <ac:grpSpMk id="159" creationId="{D86746B5-70FB-401B-9464-11D1B394AE1D}"/>
          </ac:grpSpMkLst>
        </pc:grpChg>
        <pc:grpChg chg="mod topLvl">
          <ac:chgData name="Perez Diaz, Karen" userId="17027623-4de6-4c48-9453-394c2c5804f8" providerId="ADAL" clId="{125B4060-2B6F-4057-BBAC-C886486E54D1}" dt="2021-02-04T20:02:13.236" v="359" actId="165"/>
          <ac:grpSpMkLst>
            <pc:docMk/>
            <pc:sldMk cId="3266835802" sldId="750"/>
            <ac:grpSpMk id="217" creationId="{9E5C4412-7EC4-487F-854E-0A306D3FA7D8}"/>
          </ac:grpSpMkLst>
        </pc:grpChg>
        <pc:cxnChg chg="mod topLvl">
          <ac:chgData name="Perez Diaz, Karen" userId="17027623-4de6-4c48-9453-394c2c5804f8" providerId="ADAL" clId="{125B4060-2B6F-4057-BBAC-C886486E54D1}" dt="2021-02-04T20:02:33.840" v="369" actId="1038"/>
          <ac:cxnSpMkLst>
            <pc:docMk/>
            <pc:sldMk cId="3266835802" sldId="750"/>
            <ac:cxnSpMk id="20" creationId="{348D7C3F-B83C-43A8-9D28-CCC9C4BBB069}"/>
          </ac:cxnSpMkLst>
        </pc:cxnChg>
        <pc:cxnChg chg="mod topLvl">
          <ac:chgData name="Perez Diaz, Karen" userId="17027623-4de6-4c48-9453-394c2c5804f8" providerId="ADAL" clId="{125B4060-2B6F-4057-BBAC-C886486E54D1}" dt="2021-02-04T20:02:13.236" v="359" actId="165"/>
          <ac:cxnSpMkLst>
            <pc:docMk/>
            <pc:sldMk cId="3266835802" sldId="750"/>
            <ac:cxnSpMk id="25" creationId="{0FD92F1F-404B-4B75-922F-DC7CBDD99712}"/>
          </ac:cxnSpMkLst>
        </pc:cxnChg>
        <pc:cxnChg chg="mod topLvl">
          <ac:chgData name="Perez Diaz, Karen" userId="17027623-4de6-4c48-9453-394c2c5804f8" providerId="ADAL" clId="{125B4060-2B6F-4057-BBAC-C886486E54D1}" dt="2021-02-04T20:02:13.236" v="359" actId="165"/>
          <ac:cxnSpMkLst>
            <pc:docMk/>
            <pc:sldMk cId="3266835802" sldId="750"/>
            <ac:cxnSpMk id="27" creationId="{241AE13A-CC4B-4DEF-B58D-790536D65968}"/>
          </ac:cxnSpMkLst>
        </pc:cxnChg>
        <pc:cxnChg chg="mod topLvl">
          <ac:chgData name="Perez Diaz, Karen" userId="17027623-4de6-4c48-9453-394c2c5804f8" providerId="ADAL" clId="{125B4060-2B6F-4057-BBAC-C886486E54D1}" dt="2021-02-04T20:02:33.840" v="369" actId="1038"/>
          <ac:cxnSpMkLst>
            <pc:docMk/>
            <pc:sldMk cId="3266835802" sldId="750"/>
            <ac:cxnSpMk id="31" creationId="{8FEF314A-9932-4F10-8E0C-6B6DF5F71CD9}"/>
          </ac:cxnSpMkLst>
        </pc:cxnChg>
        <pc:cxnChg chg="mod topLvl">
          <ac:chgData name="Perez Diaz, Karen" userId="17027623-4de6-4c48-9453-394c2c5804f8" providerId="ADAL" clId="{125B4060-2B6F-4057-BBAC-C886486E54D1}" dt="2021-02-04T20:02:13.236" v="359" actId="165"/>
          <ac:cxnSpMkLst>
            <pc:docMk/>
            <pc:sldMk cId="3266835802" sldId="750"/>
            <ac:cxnSpMk id="65" creationId="{9F79DEE4-32EB-4954-BB88-47EAFD90F0F2}"/>
          </ac:cxnSpMkLst>
        </pc:cxnChg>
        <pc:cxnChg chg="mod">
          <ac:chgData name="Perez Diaz, Karen" userId="17027623-4de6-4c48-9453-394c2c5804f8" providerId="ADAL" clId="{125B4060-2B6F-4057-BBAC-C886486E54D1}" dt="2021-02-04T20:02:33.840" v="369" actId="1038"/>
          <ac:cxnSpMkLst>
            <pc:docMk/>
            <pc:sldMk cId="3266835802" sldId="750"/>
            <ac:cxnSpMk id="90" creationId="{B62C4502-AC81-4B5C-B201-F71E51274206}"/>
          </ac:cxnSpMkLst>
        </pc:cxnChg>
        <pc:cxnChg chg="mod topLvl">
          <ac:chgData name="Perez Diaz, Karen" userId="17027623-4de6-4c48-9453-394c2c5804f8" providerId="ADAL" clId="{125B4060-2B6F-4057-BBAC-C886486E54D1}" dt="2021-02-04T20:02:33.840" v="369" actId="1038"/>
          <ac:cxnSpMkLst>
            <pc:docMk/>
            <pc:sldMk cId="3266835802" sldId="750"/>
            <ac:cxnSpMk id="153" creationId="{CF62DD21-6B13-479A-AB86-BA847621720E}"/>
          </ac:cxnSpMkLst>
        </pc:cxnChg>
        <pc:cxnChg chg="mod topLvl">
          <ac:chgData name="Perez Diaz, Karen" userId="17027623-4de6-4c48-9453-394c2c5804f8" providerId="ADAL" clId="{125B4060-2B6F-4057-BBAC-C886486E54D1}" dt="2021-02-04T20:02:16.760" v="360" actId="165"/>
          <ac:cxnSpMkLst>
            <pc:docMk/>
            <pc:sldMk cId="3266835802" sldId="750"/>
            <ac:cxnSpMk id="154" creationId="{9CC4E547-EFBC-41A4-BA74-DA6CEF37B4DA}"/>
          </ac:cxnSpMkLst>
        </pc:cxnChg>
        <pc:cxnChg chg="mod topLvl">
          <ac:chgData name="Perez Diaz, Karen" userId="17027623-4de6-4c48-9453-394c2c5804f8" providerId="ADAL" clId="{125B4060-2B6F-4057-BBAC-C886486E54D1}" dt="2021-02-04T20:02:33.840" v="369" actId="1038"/>
          <ac:cxnSpMkLst>
            <pc:docMk/>
            <pc:sldMk cId="3266835802" sldId="750"/>
            <ac:cxnSpMk id="155" creationId="{A288B4CE-A560-4088-84AF-A1CFB05D09C9}"/>
          </ac:cxnSpMkLst>
        </pc:cxnChg>
        <pc:cxnChg chg="mod topLvl">
          <ac:chgData name="Perez Diaz, Karen" userId="17027623-4de6-4c48-9453-394c2c5804f8" providerId="ADAL" clId="{125B4060-2B6F-4057-BBAC-C886486E54D1}" dt="2021-02-04T20:02:16.760" v="360" actId="165"/>
          <ac:cxnSpMkLst>
            <pc:docMk/>
            <pc:sldMk cId="3266835802" sldId="750"/>
            <ac:cxnSpMk id="157" creationId="{D1D7CC37-D269-4D0D-954A-F51BB77E1049}"/>
          </ac:cxnSpMkLst>
        </pc:cxnChg>
        <pc:cxnChg chg="mod topLvl">
          <ac:chgData name="Perez Diaz, Karen" userId="17027623-4de6-4c48-9453-394c2c5804f8" providerId="ADAL" clId="{125B4060-2B6F-4057-BBAC-C886486E54D1}" dt="2021-02-04T20:02:16.760" v="360" actId="165"/>
          <ac:cxnSpMkLst>
            <pc:docMk/>
            <pc:sldMk cId="3266835802" sldId="750"/>
            <ac:cxnSpMk id="158" creationId="{1B2D97C1-E39D-4AA6-ABCB-11A7C1850039}"/>
          </ac:cxnSpMkLst>
        </pc:cxnChg>
        <pc:cxnChg chg="mod">
          <ac:chgData name="Perez Diaz, Karen" userId="17027623-4de6-4c48-9453-394c2c5804f8" providerId="ADAL" clId="{125B4060-2B6F-4057-BBAC-C886486E54D1}" dt="2021-02-04T20:03:09.048" v="370" actId="14100"/>
          <ac:cxnSpMkLst>
            <pc:docMk/>
            <pc:sldMk cId="3266835802" sldId="750"/>
            <ac:cxnSpMk id="221" creationId="{3097F805-177C-45C4-B7FE-D7C585050186}"/>
          </ac:cxnSpMkLst>
        </pc:cxnChg>
      </pc:sldChg>
      <pc:sldChg chg="modSp add">
        <pc:chgData name="Perez Diaz, Karen" userId="17027623-4de6-4c48-9453-394c2c5804f8" providerId="ADAL" clId="{125B4060-2B6F-4057-BBAC-C886486E54D1}" dt="2021-02-04T20:01:47.073" v="358" actId="207"/>
        <pc:sldMkLst>
          <pc:docMk/>
          <pc:sldMk cId="2585549440" sldId="752"/>
        </pc:sldMkLst>
        <pc:spChg chg="mod">
          <ac:chgData name="Perez Diaz, Karen" userId="17027623-4de6-4c48-9453-394c2c5804f8" providerId="ADAL" clId="{125B4060-2B6F-4057-BBAC-C886486E54D1}" dt="2021-02-04T19:38:55.713" v="13" actId="20577"/>
          <ac:spMkLst>
            <pc:docMk/>
            <pc:sldMk cId="2585549440" sldId="752"/>
            <ac:spMk id="2" creationId="{564A5F9A-755E-459F-B165-4A609C4DA448}"/>
          </ac:spMkLst>
        </pc:spChg>
        <pc:spChg chg="mod">
          <ac:chgData name="Perez Diaz, Karen" userId="17027623-4de6-4c48-9453-394c2c5804f8" providerId="ADAL" clId="{125B4060-2B6F-4057-BBAC-C886486E54D1}" dt="2021-02-04T20:01:47.073" v="358" actId="207"/>
          <ac:spMkLst>
            <pc:docMk/>
            <pc:sldMk cId="2585549440" sldId="752"/>
            <ac:spMk id="3" creationId="{16D5365B-B602-44AC-9EC5-1FECB96A2A26}"/>
          </ac:spMkLst>
        </pc:spChg>
      </pc:sldChg>
      <pc:sldChg chg="addSp delSp modSp add">
        <pc:chgData name="Perez Diaz, Karen" userId="17027623-4de6-4c48-9453-394c2c5804f8" providerId="ADAL" clId="{125B4060-2B6F-4057-BBAC-C886486E54D1}" dt="2021-02-04T20:20:43.536" v="768" actId="6549"/>
        <pc:sldMkLst>
          <pc:docMk/>
          <pc:sldMk cId="4110761666" sldId="753"/>
        </pc:sldMkLst>
        <pc:spChg chg="del">
          <ac:chgData name="Perez Diaz, Karen" userId="17027623-4de6-4c48-9453-394c2c5804f8" providerId="ADAL" clId="{125B4060-2B6F-4057-BBAC-C886486E54D1}" dt="2021-02-04T20:11:39.947" v="662" actId="478"/>
          <ac:spMkLst>
            <pc:docMk/>
            <pc:sldMk cId="4110761666" sldId="753"/>
            <ac:spMk id="2" creationId="{00000000-0000-0000-0000-000000000000}"/>
          </ac:spMkLst>
        </pc:spChg>
        <pc:spChg chg="add del mod">
          <ac:chgData name="Perez Diaz, Karen" userId="17027623-4de6-4c48-9453-394c2c5804f8" providerId="ADAL" clId="{125B4060-2B6F-4057-BBAC-C886486E54D1}" dt="2021-02-04T20:11:43.889" v="663" actId="478"/>
          <ac:spMkLst>
            <pc:docMk/>
            <pc:sldMk cId="4110761666" sldId="753"/>
            <ac:spMk id="6" creationId="{F06FEAB3-8A6D-4BF4-90D1-E025F15942AD}"/>
          </ac:spMkLst>
        </pc:spChg>
        <pc:spChg chg="add">
          <ac:chgData name="Perez Diaz, Karen" userId="17027623-4de6-4c48-9453-394c2c5804f8" providerId="ADAL" clId="{125B4060-2B6F-4057-BBAC-C886486E54D1}" dt="2021-02-04T20:11:44.540" v="664"/>
          <ac:spMkLst>
            <pc:docMk/>
            <pc:sldMk cId="4110761666" sldId="753"/>
            <ac:spMk id="7" creationId="{0D7FA4C1-1551-41BE-A604-C465AD23D0A5}"/>
          </ac:spMkLst>
        </pc:spChg>
        <pc:graphicFrameChg chg="mod modGraphic">
          <ac:chgData name="Perez Diaz, Karen" userId="17027623-4de6-4c48-9453-394c2c5804f8" providerId="ADAL" clId="{125B4060-2B6F-4057-BBAC-C886486E54D1}" dt="2021-02-04T20:20:43.536" v="768" actId="6549"/>
          <ac:graphicFrameMkLst>
            <pc:docMk/>
            <pc:sldMk cId="4110761666" sldId="753"/>
            <ac:graphicFrameMk id="5" creationId="{70F9371E-F78A-4060-92E1-259C0C348C60}"/>
          </ac:graphicFrameMkLst>
        </pc:graphicFrameChg>
      </pc:sldChg>
      <pc:sldChg chg="add del">
        <pc:chgData name="Perez Diaz, Karen" userId="17027623-4de6-4c48-9453-394c2c5804f8" providerId="ADAL" clId="{125B4060-2B6F-4057-BBAC-C886486E54D1}" dt="2021-02-04T20:16:59.232" v="691" actId="2696"/>
        <pc:sldMkLst>
          <pc:docMk/>
          <pc:sldMk cId="5976007" sldId="754"/>
        </pc:sldMkLst>
      </pc:sldChg>
    </pc:docChg>
  </pc:docChgLst>
  <pc:docChgLst>
    <pc:chgData name="Perez Diaz, Karen" userId="17027623-4de6-4c48-9453-394c2c5804f8" providerId="ADAL" clId="{6A21F363-2946-48B9-BAC7-A90E15D1E657}"/>
    <pc:docChg chg="undo redo custSel addSld delSld modSld">
      <pc:chgData name="Perez Diaz, Karen" userId="17027623-4de6-4c48-9453-394c2c5804f8" providerId="ADAL" clId="{6A21F363-2946-48B9-BAC7-A90E15D1E657}" dt="2021-04-16T15:10:42.244" v="1071" actId="20577"/>
      <pc:docMkLst>
        <pc:docMk/>
      </pc:docMkLst>
      <pc:sldChg chg="delSp mod">
        <pc:chgData name="Perez Diaz, Karen" userId="17027623-4de6-4c48-9453-394c2c5804f8" providerId="ADAL" clId="{6A21F363-2946-48B9-BAC7-A90E15D1E657}" dt="2021-04-15T14:27:14.754" v="0" actId="478"/>
        <pc:sldMkLst>
          <pc:docMk/>
          <pc:sldMk cId="743756714" sldId="751"/>
        </pc:sldMkLst>
        <pc:cxnChg chg="del">
          <ac:chgData name="Perez Diaz, Karen" userId="17027623-4de6-4c48-9453-394c2c5804f8" providerId="ADAL" clId="{6A21F363-2946-48B9-BAC7-A90E15D1E657}" dt="2021-04-15T14:27:14.754" v="0" actId="478"/>
          <ac:cxnSpMkLst>
            <pc:docMk/>
            <pc:sldMk cId="743756714" sldId="751"/>
            <ac:cxnSpMk id="4" creationId="{EEF197D6-422C-4476-9AAB-134C0BB2E24F}"/>
          </ac:cxnSpMkLst>
        </pc:cxnChg>
      </pc:sldChg>
      <pc:sldChg chg="modSp mod">
        <pc:chgData name="Perez Diaz, Karen" userId="17027623-4de6-4c48-9453-394c2c5804f8" providerId="ADAL" clId="{6A21F363-2946-48B9-BAC7-A90E15D1E657}" dt="2021-04-15T15:08:22.070" v="11" actId="20577"/>
        <pc:sldMkLst>
          <pc:docMk/>
          <pc:sldMk cId="313541378" sldId="754"/>
        </pc:sldMkLst>
        <pc:spChg chg="mod">
          <ac:chgData name="Perez Diaz, Karen" userId="17027623-4de6-4c48-9453-394c2c5804f8" providerId="ADAL" clId="{6A21F363-2946-48B9-BAC7-A90E15D1E657}" dt="2021-04-15T15:07:37.501" v="9" actId="5793"/>
          <ac:spMkLst>
            <pc:docMk/>
            <pc:sldMk cId="313541378" sldId="754"/>
            <ac:spMk id="4" creationId="{3391FEEF-F27B-41D9-B582-F93BB491DB23}"/>
          </ac:spMkLst>
        </pc:spChg>
        <pc:graphicFrameChg chg="modGraphic">
          <ac:chgData name="Perez Diaz, Karen" userId="17027623-4de6-4c48-9453-394c2c5804f8" providerId="ADAL" clId="{6A21F363-2946-48B9-BAC7-A90E15D1E657}" dt="2021-04-15T15:08:22.070" v="11" actId="20577"/>
          <ac:graphicFrameMkLst>
            <pc:docMk/>
            <pc:sldMk cId="313541378" sldId="754"/>
            <ac:graphicFrameMk id="5" creationId="{CFFC21C1-D8DC-44A8-8916-D41D38B0EE0C}"/>
          </ac:graphicFrameMkLst>
        </pc:graphicFrameChg>
      </pc:sldChg>
      <pc:sldChg chg="modSp mod">
        <pc:chgData name="Perez Diaz, Karen" userId="17027623-4de6-4c48-9453-394c2c5804f8" providerId="ADAL" clId="{6A21F363-2946-48B9-BAC7-A90E15D1E657}" dt="2021-04-15T14:40:28.356" v="5" actId="20577"/>
        <pc:sldMkLst>
          <pc:docMk/>
          <pc:sldMk cId="3220359219" sldId="758"/>
        </pc:sldMkLst>
        <pc:spChg chg="mod">
          <ac:chgData name="Perez Diaz, Karen" userId="17027623-4de6-4c48-9453-394c2c5804f8" providerId="ADAL" clId="{6A21F363-2946-48B9-BAC7-A90E15D1E657}" dt="2021-04-15T14:40:28.356" v="5" actId="20577"/>
          <ac:spMkLst>
            <pc:docMk/>
            <pc:sldMk cId="3220359219" sldId="758"/>
            <ac:spMk id="4" creationId="{3391FEEF-F27B-41D9-B582-F93BB491DB23}"/>
          </ac:spMkLst>
        </pc:spChg>
      </pc:sldChg>
      <pc:sldChg chg="modSp mod">
        <pc:chgData name="Perez Diaz, Karen" userId="17027623-4de6-4c48-9453-394c2c5804f8" providerId="ADAL" clId="{6A21F363-2946-48B9-BAC7-A90E15D1E657}" dt="2021-04-15T15:19:16.723" v="26" actId="20577"/>
        <pc:sldMkLst>
          <pc:docMk/>
          <pc:sldMk cId="2687953584" sldId="759"/>
        </pc:sldMkLst>
        <pc:graphicFrameChg chg="modGraphic">
          <ac:chgData name="Perez Diaz, Karen" userId="17027623-4de6-4c48-9453-394c2c5804f8" providerId="ADAL" clId="{6A21F363-2946-48B9-BAC7-A90E15D1E657}" dt="2021-04-15T15:19:16.723" v="26" actId="20577"/>
          <ac:graphicFrameMkLst>
            <pc:docMk/>
            <pc:sldMk cId="2687953584" sldId="759"/>
            <ac:graphicFrameMk id="6" creationId="{D3664D7F-0A45-46CB-8FED-4E8FFE29E40A}"/>
          </ac:graphicFrameMkLst>
        </pc:graphicFrameChg>
      </pc:sldChg>
      <pc:sldChg chg="addSp delSp modSp new del mod">
        <pc:chgData name="Perez Diaz, Karen" userId="17027623-4de6-4c48-9453-394c2c5804f8" providerId="ADAL" clId="{6A21F363-2946-48B9-BAC7-A90E15D1E657}" dt="2021-04-15T19:19:31.214" v="845" actId="47"/>
        <pc:sldMkLst>
          <pc:docMk/>
          <pc:sldMk cId="62596318" sldId="762"/>
        </pc:sldMkLst>
        <pc:spChg chg="mod">
          <ac:chgData name="Perez Diaz, Karen" userId="17027623-4de6-4c48-9453-394c2c5804f8" providerId="ADAL" clId="{6A21F363-2946-48B9-BAC7-A90E15D1E657}" dt="2021-04-15T17:48:16.374" v="133" actId="20577"/>
          <ac:spMkLst>
            <pc:docMk/>
            <pc:sldMk cId="62596318" sldId="762"/>
            <ac:spMk id="2" creationId="{895A63C0-F91A-4580-9756-F242EB4C4268}"/>
          </ac:spMkLst>
        </pc:spChg>
        <pc:spChg chg="del">
          <ac:chgData name="Perez Diaz, Karen" userId="17027623-4de6-4c48-9453-394c2c5804f8" providerId="ADAL" clId="{6A21F363-2946-48B9-BAC7-A90E15D1E657}" dt="2021-04-15T17:47:41.758" v="102" actId="3680"/>
          <ac:spMkLst>
            <pc:docMk/>
            <pc:sldMk cId="62596318" sldId="762"/>
            <ac:spMk id="3" creationId="{AE98EF39-B025-4344-A37C-ABAE7828BBBD}"/>
          </ac:spMkLst>
        </pc:spChg>
        <pc:spChg chg="add mod">
          <ac:chgData name="Perez Diaz, Karen" userId="17027623-4de6-4c48-9453-394c2c5804f8" providerId="ADAL" clId="{6A21F363-2946-48B9-BAC7-A90E15D1E657}" dt="2021-04-15T19:04:36.169" v="749" actId="1035"/>
          <ac:spMkLst>
            <pc:docMk/>
            <pc:sldMk cId="62596318" sldId="762"/>
            <ac:spMk id="5" creationId="{0FA35FCA-3101-4E2A-A3B0-E5FB0842D61A}"/>
          </ac:spMkLst>
        </pc:spChg>
        <pc:graphicFrameChg chg="add mod ord modGraphic">
          <ac:chgData name="Perez Diaz, Karen" userId="17027623-4de6-4c48-9453-394c2c5804f8" providerId="ADAL" clId="{6A21F363-2946-48B9-BAC7-A90E15D1E657}" dt="2021-04-15T19:04:36.169" v="749" actId="1035"/>
          <ac:graphicFrameMkLst>
            <pc:docMk/>
            <pc:sldMk cId="62596318" sldId="762"/>
            <ac:graphicFrameMk id="4" creationId="{3D5FED48-F8E8-4A64-888E-07550FD7ED42}"/>
          </ac:graphicFrameMkLst>
        </pc:graphicFrameChg>
      </pc:sldChg>
      <pc:sldChg chg="addSp delSp modSp add mod">
        <pc:chgData name="Perez Diaz, Karen" userId="17027623-4de6-4c48-9453-394c2c5804f8" providerId="ADAL" clId="{6A21F363-2946-48B9-BAC7-A90E15D1E657}" dt="2021-04-16T15:10:42.244" v="1071" actId="20577"/>
        <pc:sldMkLst>
          <pc:docMk/>
          <pc:sldMk cId="1546832768" sldId="763"/>
        </pc:sldMkLst>
        <pc:spChg chg="mod">
          <ac:chgData name="Perez Diaz, Karen" userId="17027623-4de6-4c48-9453-394c2c5804f8" providerId="ADAL" clId="{6A21F363-2946-48B9-BAC7-A90E15D1E657}" dt="2021-04-16T15:05:00.765" v="983" actId="1036"/>
          <ac:spMkLst>
            <pc:docMk/>
            <pc:sldMk cId="1546832768" sldId="763"/>
            <ac:spMk id="5" creationId="{0FA35FCA-3101-4E2A-A3B0-E5FB0842D61A}"/>
          </ac:spMkLst>
        </pc:spChg>
        <pc:spChg chg="add mod">
          <ac:chgData name="Perez Diaz, Karen" userId="17027623-4de6-4c48-9453-394c2c5804f8" providerId="ADAL" clId="{6A21F363-2946-48B9-BAC7-A90E15D1E657}" dt="2021-04-16T14:45:34.495" v="860" actId="14100"/>
          <ac:spMkLst>
            <pc:docMk/>
            <pc:sldMk cId="1546832768" sldId="763"/>
            <ac:spMk id="6" creationId="{D1B3242B-E028-4709-AAAD-C08CAAB3106B}"/>
          </ac:spMkLst>
        </pc:spChg>
        <pc:graphicFrameChg chg="del mod">
          <ac:chgData name="Perez Diaz, Karen" userId="17027623-4de6-4c48-9453-394c2c5804f8" providerId="ADAL" clId="{6A21F363-2946-48B9-BAC7-A90E15D1E657}" dt="2021-04-15T19:06:12.006" v="752" actId="478"/>
          <ac:graphicFrameMkLst>
            <pc:docMk/>
            <pc:sldMk cId="1546832768" sldId="763"/>
            <ac:graphicFrameMk id="4" creationId="{3D5FED48-F8E8-4A64-888E-07550FD7ED42}"/>
          </ac:graphicFrameMkLst>
        </pc:graphicFrameChg>
        <pc:graphicFrameChg chg="add del mod modGraphic">
          <ac:chgData name="Perez Diaz, Karen" userId="17027623-4de6-4c48-9453-394c2c5804f8" providerId="ADAL" clId="{6A21F363-2946-48B9-BAC7-A90E15D1E657}" dt="2021-04-16T15:10:42.244" v="1071" actId="20577"/>
          <ac:graphicFrameMkLst>
            <pc:docMk/>
            <pc:sldMk cId="1546832768" sldId="763"/>
            <ac:graphicFrameMk id="7" creationId="{76CCF4A6-E904-42DA-9A31-5DA01D415FE9}"/>
          </ac:graphicFrameMkLst>
        </pc:graphicFrameChg>
      </pc:sldChg>
    </pc:docChg>
  </pc:docChgLst>
  <pc:docChgLst>
    <pc:chgData name="Perez Diaz, Karen" userId="17027623-4de6-4c48-9453-394c2c5804f8" providerId="ADAL" clId="{29370469-C559-41E6-B5B3-74A9DA2D409B}"/>
    <pc:docChg chg="undo custSel addSld delSld modSld">
      <pc:chgData name="Perez Diaz, Karen" userId="17027623-4de6-4c48-9453-394c2c5804f8" providerId="ADAL" clId="{29370469-C559-41E6-B5B3-74A9DA2D409B}" dt="2021-01-28T16:59:34.084" v="1761"/>
      <pc:docMkLst>
        <pc:docMk/>
      </pc:docMkLst>
      <pc:sldChg chg="modSp">
        <pc:chgData name="Perez Diaz, Karen" userId="17027623-4de6-4c48-9453-394c2c5804f8" providerId="ADAL" clId="{29370469-C559-41E6-B5B3-74A9DA2D409B}" dt="2021-01-28T16:14:30.939" v="1367" actId="13926"/>
        <pc:sldMkLst>
          <pc:docMk/>
          <pc:sldMk cId="3887687176" sldId="260"/>
        </pc:sldMkLst>
        <pc:spChg chg="mod">
          <ac:chgData name="Perez Diaz, Karen" userId="17027623-4de6-4c48-9453-394c2c5804f8" providerId="ADAL" clId="{29370469-C559-41E6-B5B3-74A9DA2D409B}" dt="2021-01-28T16:14:30.939" v="1367" actId="13926"/>
          <ac:spMkLst>
            <pc:docMk/>
            <pc:sldMk cId="3887687176" sldId="260"/>
            <ac:spMk id="3" creationId="{00000000-0000-0000-0000-000000000000}"/>
          </ac:spMkLst>
        </pc:spChg>
        <pc:spChg chg="mod">
          <ac:chgData name="Perez Diaz, Karen" userId="17027623-4de6-4c48-9453-394c2c5804f8" providerId="ADAL" clId="{29370469-C559-41E6-B5B3-74A9DA2D409B}" dt="2021-01-28T16:14:23.204" v="1366" actId="13926"/>
          <ac:spMkLst>
            <pc:docMk/>
            <pc:sldMk cId="3887687176" sldId="260"/>
            <ac:spMk id="6" creationId="{00000000-0000-0000-0000-000000000000}"/>
          </ac:spMkLst>
        </pc:spChg>
        <pc:spChg chg="mod">
          <ac:chgData name="Perez Diaz, Karen" userId="17027623-4de6-4c48-9453-394c2c5804f8" providerId="ADAL" clId="{29370469-C559-41E6-B5B3-74A9DA2D409B}" dt="2021-01-28T15:52:22.636" v="1325"/>
          <ac:spMkLst>
            <pc:docMk/>
            <pc:sldMk cId="3887687176" sldId="260"/>
            <ac:spMk id="10" creationId="{00000000-0000-0000-0000-000000000000}"/>
          </ac:spMkLst>
        </pc:spChg>
      </pc:sldChg>
      <pc:sldChg chg="modSp">
        <pc:chgData name="Perez Diaz, Karen" userId="17027623-4de6-4c48-9453-394c2c5804f8" providerId="ADAL" clId="{29370469-C559-41E6-B5B3-74A9DA2D409B}" dt="2021-01-28T16:20:14.841" v="1369" actId="13926"/>
        <pc:sldMkLst>
          <pc:docMk/>
          <pc:sldMk cId="753726229" sldId="379"/>
        </pc:sldMkLst>
        <pc:spChg chg="mod">
          <ac:chgData name="Perez Diaz, Karen" userId="17027623-4de6-4c48-9453-394c2c5804f8" providerId="ADAL" clId="{29370469-C559-41E6-B5B3-74A9DA2D409B}" dt="2021-01-28T16:20:14.841" v="1369" actId="13926"/>
          <ac:spMkLst>
            <pc:docMk/>
            <pc:sldMk cId="753726229" sldId="379"/>
            <ac:spMk id="30" creationId="{39C286EB-B4EB-407E-9E61-97D02F492D65}"/>
          </ac:spMkLst>
        </pc:spChg>
        <pc:spChg chg="mod">
          <ac:chgData name="Perez Diaz, Karen" userId="17027623-4de6-4c48-9453-394c2c5804f8" providerId="ADAL" clId="{29370469-C559-41E6-B5B3-74A9DA2D409B}" dt="2021-01-28T16:19:35.141" v="1368" actId="13926"/>
          <ac:spMkLst>
            <pc:docMk/>
            <pc:sldMk cId="753726229" sldId="379"/>
            <ac:spMk id="37" creationId="{37818ACD-A1BA-46CD-BD1C-730994A6DFC3}"/>
          </ac:spMkLst>
        </pc:spChg>
        <pc:spChg chg="mod">
          <ac:chgData name="Perez Diaz, Karen" userId="17027623-4de6-4c48-9453-394c2c5804f8" providerId="ADAL" clId="{29370469-C559-41E6-B5B3-74A9DA2D409B}" dt="2021-01-27T16:50:49.944" v="334" actId="13926"/>
          <ac:spMkLst>
            <pc:docMk/>
            <pc:sldMk cId="753726229" sldId="379"/>
            <ac:spMk id="38" creationId="{1A443F8F-8D68-42AA-BAEE-15BC368AA565}"/>
          </ac:spMkLst>
        </pc:spChg>
      </pc:sldChg>
      <pc:sldChg chg="modSp add">
        <pc:chgData name="Perez Diaz, Karen" userId="17027623-4de6-4c48-9453-394c2c5804f8" providerId="ADAL" clId="{29370469-C559-41E6-B5B3-74A9DA2D409B}" dt="2021-01-20T20:03:42.462" v="131" actId="20577"/>
        <pc:sldMkLst>
          <pc:docMk/>
          <pc:sldMk cId="2282214342" sldId="649"/>
        </pc:sldMkLst>
        <pc:spChg chg="mod">
          <ac:chgData name="Perez Diaz, Karen" userId="17027623-4de6-4c48-9453-394c2c5804f8" providerId="ADAL" clId="{29370469-C559-41E6-B5B3-74A9DA2D409B}" dt="2021-01-20T20:03:42.462" v="131" actId="20577"/>
          <ac:spMkLst>
            <pc:docMk/>
            <pc:sldMk cId="2282214342" sldId="649"/>
            <ac:spMk id="4" creationId="{26E12D9D-AA9C-4FD9-9EAD-A7D0631B54D7}"/>
          </ac:spMkLst>
        </pc:spChg>
      </pc:sldChg>
      <pc:sldChg chg="modSp add">
        <pc:chgData name="Perez Diaz, Karen" userId="17027623-4de6-4c48-9453-394c2c5804f8" providerId="ADAL" clId="{29370469-C559-41E6-B5B3-74A9DA2D409B}" dt="2021-01-27T15:23:28.011" v="202" actId="20577"/>
        <pc:sldMkLst>
          <pc:docMk/>
          <pc:sldMk cId="1278736077" sldId="660"/>
        </pc:sldMkLst>
        <pc:spChg chg="mod">
          <ac:chgData name="Perez Diaz, Karen" userId="17027623-4de6-4c48-9453-394c2c5804f8" providerId="ADAL" clId="{29370469-C559-41E6-B5B3-74A9DA2D409B}" dt="2021-01-20T20:03:50.416" v="150" actId="20577"/>
          <ac:spMkLst>
            <pc:docMk/>
            <pc:sldMk cId="1278736077" sldId="660"/>
            <ac:spMk id="2" creationId="{00000000-0000-0000-0000-000000000000}"/>
          </ac:spMkLst>
        </pc:spChg>
        <pc:graphicFrameChg chg="mod modGraphic">
          <ac:chgData name="Perez Diaz, Karen" userId="17027623-4de6-4c48-9453-394c2c5804f8" providerId="ADAL" clId="{29370469-C559-41E6-B5B3-74A9DA2D409B}" dt="2021-01-27T15:23:28.011" v="202" actId="20577"/>
          <ac:graphicFrameMkLst>
            <pc:docMk/>
            <pc:sldMk cId="1278736077" sldId="660"/>
            <ac:graphicFrameMk id="4" creationId="{00000000-0000-0000-0000-000000000000}"/>
          </ac:graphicFrameMkLst>
        </pc:graphicFrameChg>
      </pc:sldChg>
      <pc:sldChg chg="modSp add del">
        <pc:chgData name="Perez Diaz, Karen" userId="17027623-4de6-4c48-9453-394c2c5804f8" providerId="ADAL" clId="{29370469-C559-41E6-B5B3-74A9DA2D409B}" dt="2021-01-20T20:03:15.972" v="113" actId="2696"/>
        <pc:sldMkLst>
          <pc:docMk/>
          <pc:sldMk cId="2334736935" sldId="661"/>
        </pc:sldMkLst>
        <pc:spChg chg="mod">
          <ac:chgData name="Perez Diaz, Karen" userId="17027623-4de6-4c48-9453-394c2c5804f8" providerId="ADAL" clId="{29370469-C559-41E6-B5B3-74A9DA2D409B}" dt="2021-01-20T19:28:10.661" v="17" actId="20577"/>
          <ac:spMkLst>
            <pc:docMk/>
            <pc:sldMk cId="2334736935" sldId="661"/>
            <ac:spMk id="2" creationId="{00000000-0000-0000-0000-000000000000}"/>
          </ac:spMkLst>
        </pc:spChg>
        <pc:graphicFrameChg chg="mod modGraphic">
          <ac:chgData name="Perez Diaz, Karen" userId="17027623-4de6-4c48-9453-394c2c5804f8" providerId="ADAL" clId="{29370469-C559-41E6-B5B3-74A9DA2D409B}" dt="2021-01-20T19:31:40.582" v="75" actId="798"/>
          <ac:graphicFrameMkLst>
            <pc:docMk/>
            <pc:sldMk cId="2334736935" sldId="661"/>
            <ac:graphicFrameMk id="4" creationId="{00000000-0000-0000-0000-000000000000}"/>
          </ac:graphicFrameMkLst>
        </pc:graphicFrameChg>
      </pc:sldChg>
      <pc:sldChg chg="modSp">
        <pc:chgData name="Perez Diaz, Karen" userId="17027623-4de6-4c48-9453-394c2c5804f8" providerId="ADAL" clId="{29370469-C559-41E6-B5B3-74A9DA2D409B}" dt="2021-01-27T15:21:18.342" v="167" actId="20577"/>
        <pc:sldMkLst>
          <pc:docMk/>
          <pc:sldMk cId="3197154609" sldId="736"/>
        </pc:sldMkLst>
        <pc:spChg chg="mod">
          <ac:chgData name="Perez Diaz, Karen" userId="17027623-4de6-4c48-9453-394c2c5804f8" providerId="ADAL" clId="{29370469-C559-41E6-B5B3-74A9DA2D409B}" dt="2021-01-27T15:21:14.502" v="159" actId="20577"/>
          <ac:spMkLst>
            <pc:docMk/>
            <pc:sldMk cId="3197154609" sldId="736"/>
            <ac:spMk id="2" creationId="{FE1208AD-B065-42AE-BC44-9C064C83105A}"/>
          </ac:spMkLst>
        </pc:spChg>
        <pc:spChg chg="mod">
          <ac:chgData name="Perez Diaz, Karen" userId="17027623-4de6-4c48-9453-394c2c5804f8" providerId="ADAL" clId="{29370469-C559-41E6-B5B3-74A9DA2D409B}" dt="2021-01-27T15:21:18.342" v="167" actId="20577"/>
          <ac:spMkLst>
            <pc:docMk/>
            <pc:sldMk cId="3197154609" sldId="736"/>
            <ac:spMk id="3" creationId="{AF0DA26D-3B67-40C8-9676-A9B16F9FFEA9}"/>
          </ac:spMkLst>
        </pc:spChg>
      </pc:sldChg>
      <pc:sldChg chg="modSp addCm delCm modCm">
        <pc:chgData name="Perez Diaz, Karen" userId="17027623-4de6-4c48-9453-394c2c5804f8" providerId="ADAL" clId="{29370469-C559-41E6-B5B3-74A9DA2D409B}" dt="2021-01-28T16:07:45.461" v="1362" actId="6549"/>
        <pc:sldMkLst>
          <pc:docMk/>
          <pc:sldMk cId="1285900942" sldId="737"/>
        </pc:sldMkLst>
        <pc:spChg chg="mod">
          <ac:chgData name="Perez Diaz, Karen" userId="17027623-4de6-4c48-9453-394c2c5804f8" providerId="ADAL" clId="{29370469-C559-41E6-B5B3-74A9DA2D409B}" dt="2021-01-27T19:35:17.070" v="1239" actId="20577"/>
          <ac:spMkLst>
            <pc:docMk/>
            <pc:sldMk cId="1285900942" sldId="737"/>
            <ac:spMk id="3" creationId="{00000000-0000-0000-0000-000000000000}"/>
          </ac:spMkLst>
        </pc:spChg>
        <pc:spChg chg="mod">
          <ac:chgData name="Perez Diaz, Karen" userId="17027623-4de6-4c48-9453-394c2c5804f8" providerId="ADAL" clId="{29370469-C559-41E6-B5B3-74A9DA2D409B}" dt="2021-01-28T16:06:58.503" v="1361" actId="20577"/>
          <ac:spMkLst>
            <pc:docMk/>
            <pc:sldMk cId="1285900942" sldId="737"/>
            <ac:spMk id="12" creationId="{05745967-7367-4DAD-B714-7E64C7F7BAA4}"/>
          </ac:spMkLst>
        </pc:spChg>
        <pc:spChg chg="mod">
          <ac:chgData name="Perez Diaz, Karen" userId="17027623-4de6-4c48-9453-394c2c5804f8" providerId="ADAL" clId="{29370469-C559-41E6-B5B3-74A9DA2D409B}" dt="2021-01-28T16:07:45.461" v="1362" actId="6549"/>
          <ac:spMkLst>
            <pc:docMk/>
            <pc:sldMk cId="1285900942" sldId="737"/>
            <ac:spMk id="13" creationId="{CB5D12FB-FF24-4F81-84A8-B6855780FA57}"/>
          </ac:spMkLst>
        </pc:spChg>
        <pc:spChg chg="mod">
          <ac:chgData name="Perez Diaz, Karen" userId="17027623-4de6-4c48-9453-394c2c5804f8" providerId="ADAL" clId="{29370469-C559-41E6-B5B3-74A9DA2D409B}" dt="2021-01-27T18:55:26.467" v="721" actId="13926"/>
          <ac:spMkLst>
            <pc:docMk/>
            <pc:sldMk cId="1285900942" sldId="737"/>
            <ac:spMk id="14" creationId="{05745967-7367-4DAD-B714-7E64C7F7BAA4}"/>
          </ac:spMkLst>
        </pc:spChg>
        <pc:spChg chg="mod">
          <ac:chgData name="Perez Diaz, Karen" userId="17027623-4de6-4c48-9453-394c2c5804f8" providerId="ADAL" clId="{29370469-C559-41E6-B5B3-74A9DA2D409B}" dt="2021-01-27T18:55:17.595" v="714" actId="1076"/>
          <ac:spMkLst>
            <pc:docMk/>
            <pc:sldMk cId="1285900942" sldId="737"/>
            <ac:spMk id="15" creationId="{00000000-0000-0000-0000-000000000000}"/>
          </ac:spMkLst>
        </pc:spChg>
      </pc:sldChg>
      <pc:sldChg chg="modSp">
        <pc:chgData name="Perez Diaz, Karen" userId="17027623-4de6-4c48-9453-394c2c5804f8" providerId="ADAL" clId="{29370469-C559-41E6-B5B3-74A9DA2D409B}" dt="2021-01-28T16:05:32.440" v="1338" actId="20577"/>
        <pc:sldMkLst>
          <pc:docMk/>
          <pc:sldMk cId="3216517808" sldId="738"/>
        </pc:sldMkLst>
        <pc:spChg chg="mod">
          <ac:chgData name="Perez Diaz, Karen" userId="17027623-4de6-4c48-9453-394c2c5804f8" providerId="ADAL" clId="{29370469-C559-41E6-B5B3-74A9DA2D409B}" dt="2021-01-28T16:05:22.030" v="1332" actId="20577"/>
          <ac:spMkLst>
            <pc:docMk/>
            <pc:sldMk cId="3216517808" sldId="738"/>
            <ac:spMk id="3" creationId="{00000000-0000-0000-0000-000000000000}"/>
          </ac:spMkLst>
        </pc:spChg>
        <pc:spChg chg="mod">
          <ac:chgData name="Perez Diaz, Karen" userId="17027623-4de6-4c48-9453-394c2c5804f8" providerId="ADAL" clId="{29370469-C559-41E6-B5B3-74A9DA2D409B}" dt="2021-01-27T19:25:49.628" v="1030" actId="115"/>
          <ac:spMkLst>
            <pc:docMk/>
            <pc:sldMk cId="3216517808" sldId="738"/>
            <ac:spMk id="16" creationId="{CB5D12FB-FF24-4F81-84A8-B6855780FA57}"/>
          </ac:spMkLst>
        </pc:spChg>
        <pc:spChg chg="mod">
          <ac:chgData name="Perez Diaz, Karen" userId="17027623-4de6-4c48-9453-394c2c5804f8" providerId="ADAL" clId="{29370469-C559-41E6-B5B3-74A9DA2D409B}" dt="2021-01-28T16:05:32.440" v="1338" actId="20577"/>
          <ac:spMkLst>
            <pc:docMk/>
            <pc:sldMk cId="3216517808" sldId="738"/>
            <ac:spMk id="17" creationId="{05745967-7367-4DAD-B714-7E64C7F7BAA4}"/>
          </ac:spMkLst>
        </pc:spChg>
        <pc:spChg chg="mod">
          <ac:chgData name="Perez Diaz, Karen" userId="17027623-4de6-4c48-9453-394c2c5804f8" providerId="ADAL" clId="{29370469-C559-41E6-B5B3-74A9DA2D409B}" dt="2021-01-27T18:58:23.299" v="844" actId="20577"/>
          <ac:spMkLst>
            <pc:docMk/>
            <pc:sldMk cId="3216517808" sldId="738"/>
            <ac:spMk id="23" creationId="{CB5D12FB-FF24-4F81-84A8-B6855780FA57}"/>
          </ac:spMkLst>
        </pc:spChg>
        <pc:spChg chg="mod">
          <ac:chgData name="Perez Diaz, Karen" userId="17027623-4de6-4c48-9453-394c2c5804f8" providerId="ADAL" clId="{29370469-C559-41E6-B5B3-74A9DA2D409B}" dt="2021-01-28T16:00:38.084" v="1330" actId="20577"/>
          <ac:spMkLst>
            <pc:docMk/>
            <pc:sldMk cId="3216517808" sldId="738"/>
            <ac:spMk id="24" creationId="{05745967-7367-4DAD-B714-7E64C7F7BAA4}"/>
          </ac:spMkLst>
        </pc:spChg>
      </pc:sldChg>
      <pc:sldChg chg="modSp">
        <pc:chgData name="Perez Diaz, Karen" userId="17027623-4de6-4c48-9453-394c2c5804f8" providerId="ADAL" clId="{29370469-C559-41E6-B5B3-74A9DA2D409B}" dt="2021-01-28T16:21:24.402" v="1450" actId="20577"/>
        <pc:sldMkLst>
          <pc:docMk/>
          <pc:sldMk cId="1408628016" sldId="746"/>
        </pc:sldMkLst>
        <pc:spChg chg="mod">
          <ac:chgData name="Perez Diaz, Karen" userId="17027623-4de6-4c48-9453-394c2c5804f8" providerId="ADAL" clId="{29370469-C559-41E6-B5B3-74A9DA2D409B}" dt="2021-01-28T16:21:24.402" v="1450" actId="20577"/>
          <ac:spMkLst>
            <pc:docMk/>
            <pc:sldMk cId="1408628016" sldId="746"/>
            <ac:spMk id="2" creationId="{EEB2DB48-F55E-46AE-9540-691925464E4C}"/>
          </ac:spMkLst>
        </pc:spChg>
        <pc:spChg chg="mod">
          <ac:chgData name="Perez Diaz, Karen" userId="17027623-4de6-4c48-9453-394c2c5804f8" providerId="ADAL" clId="{29370469-C559-41E6-B5B3-74A9DA2D409B}" dt="2021-01-27T15:23:10.093" v="178" actId="20577"/>
          <ac:spMkLst>
            <pc:docMk/>
            <pc:sldMk cId="1408628016" sldId="746"/>
            <ac:spMk id="64" creationId="{FCC3EBC2-9D0D-47EA-B152-51B9C42AFCE8}"/>
          </ac:spMkLst>
        </pc:spChg>
        <pc:spChg chg="mod">
          <ac:chgData name="Perez Diaz, Karen" userId="17027623-4de6-4c48-9453-394c2c5804f8" providerId="ADAL" clId="{29370469-C559-41E6-B5B3-74A9DA2D409B}" dt="2021-01-27T15:21:34.364" v="173" actId="20577"/>
          <ac:spMkLst>
            <pc:docMk/>
            <pc:sldMk cId="1408628016" sldId="746"/>
            <ac:spMk id="68" creationId="{8297072D-5A85-4366-B2F8-CF75DDD93FCF}"/>
          </ac:spMkLst>
        </pc:spChg>
        <pc:spChg chg="mod">
          <ac:chgData name="Perez Diaz, Karen" userId="17027623-4de6-4c48-9453-394c2c5804f8" providerId="ADAL" clId="{29370469-C559-41E6-B5B3-74A9DA2D409B}" dt="2021-01-27T15:23:12.970" v="180" actId="20577"/>
          <ac:spMkLst>
            <pc:docMk/>
            <pc:sldMk cId="1408628016" sldId="746"/>
            <ac:spMk id="74" creationId="{A978716B-E8B2-441F-A5A9-2A2F11559D2E}"/>
          </ac:spMkLst>
        </pc:spChg>
        <pc:spChg chg="mod">
          <ac:chgData name="Perez Diaz, Karen" userId="17027623-4de6-4c48-9453-394c2c5804f8" providerId="ADAL" clId="{29370469-C559-41E6-B5B3-74A9DA2D409B}" dt="2021-01-27T15:23:15.440" v="182" actId="20577"/>
          <ac:spMkLst>
            <pc:docMk/>
            <pc:sldMk cId="1408628016" sldId="746"/>
            <ac:spMk id="75" creationId="{A4E9BBFC-D47C-4A4B-9668-6FDA060324CE}"/>
          </ac:spMkLst>
        </pc:spChg>
        <pc:spChg chg="mod">
          <ac:chgData name="Perez Diaz, Karen" userId="17027623-4de6-4c48-9453-394c2c5804f8" providerId="ADAL" clId="{29370469-C559-41E6-B5B3-74A9DA2D409B}" dt="2021-01-27T16:51:44.586" v="353" actId="20577"/>
          <ac:spMkLst>
            <pc:docMk/>
            <pc:sldMk cId="1408628016" sldId="746"/>
            <ac:spMk id="126" creationId="{069C4E0B-1A1F-45B3-A9F7-03B17BA99E1E}"/>
          </ac:spMkLst>
        </pc:spChg>
      </pc:sldChg>
      <pc:sldChg chg="addSp delSp modSp add">
        <pc:chgData name="Perez Diaz, Karen" userId="17027623-4de6-4c48-9453-394c2c5804f8" providerId="ADAL" clId="{29370469-C559-41E6-B5B3-74A9DA2D409B}" dt="2021-01-28T16:32:50.867" v="1456" actId="478"/>
        <pc:sldMkLst>
          <pc:docMk/>
          <pc:sldMk cId="2148285342" sldId="747"/>
        </pc:sldMkLst>
        <pc:spChg chg="mod">
          <ac:chgData name="Perez Diaz, Karen" userId="17027623-4de6-4c48-9453-394c2c5804f8" providerId="ADAL" clId="{29370469-C559-41E6-B5B3-74A9DA2D409B}" dt="2021-01-28T15:46:18.638" v="1318" actId="1076"/>
          <ac:spMkLst>
            <pc:docMk/>
            <pc:sldMk cId="2148285342" sldId="747"/>
            <ac:spMk id="6" creationId="{46EE6365-81AD-4FCA-A5B9-4F4D0C586289}"/>
          </ac:spMkLst>
        </pc:spChg>
        <pc:spChg chg="mod">
          <ac:chgData name="Perez Diaz, Karen" userId="17027623-4de6-4c48-9453-394c2c5804f8" providerId="ADAL" clId="{29370469-C559-41E6-B5B3-74A9DA2D409B}" dt="2021-01-28T15:45:59.139" v="1315" actId="1076"/>
          <ac:spMkLst>
            <pc:docMk/>
            <pc:sldMk cId="2148285342" sldId="747"/>
            <ac:spMk id="7" creationId="{CBBEE985-DFA9-4335-84E8-9CC49B0EB534}"/>
          </ac:spMkLst>
        </pc:spChg>
        <pc:spChg chg="mod">
          <ac:chgData name="Perez Diaz, Karen" userId="17027623-4de6-4c48-9453-394c2c5804f8" providerId="ADAL" clId="{29370469-C559-41E6-B5B3-74A9DA2D409B}" dt="2021-01-28T15:45:59.139" v="1315" actId="1076"/>
          <ac:spMkLst>
            <pc:docMk/>
            <pc:sldMk cId="2148285342" sldId="747"/>
            <ac:spMk id="8" creationId="{0AEC7480-7499-442D-9B7F-9286FAFB0818}"/>
          </ac:spMkLst>
        </pc:spChg>
        <pc:spChg chg="mod">
          <ac:chgData name="Perez Diaz, Karen" userId="17027623-4de6-4c48-9453-394c2c5804f8" providerId="ADAL" clId="{29370469-C559-41E6-B5B3-74A9DA2D409B}" dt="2021-01-28T15:45:59.139" v="1315" actId="1076"/>
          <ac:spMkLst>
            <pc:docMk/>
            <pc:sldMk cId="2148285342" sldId="747"/>
            <ac:spMk id="9" creationId="{AD31964D-E5E9-49A2-B1C4-DFCAC54C0BAF}"/>
          </ac:spMkLst>
        </pc:spChg>
        <pc:spChg chg="mod">
          <ac:chgData name="Perez Diaz, Karen" userId="17027623-4de6-4c48-9453-394c2c5804f8" providerId="ADAL" clId="{29370469-C559-41E6-B5B3-74A9DA2D409B}" dt="2021-01-28T15:45:59.139" v="1315" actId="1076"/>
          <ac:spMkLst>
            <pc:docMk/>
            <pc:sldMk cId="2148285342" sldId="747"/>
            <ac:spMk id="10" creationId="{EE9C9ED5-ABCE-4FDB-86CF-FDFC75DD74BD}"/>
          </ac:spMkLst>
        </pc:spChg>
        <pc:spChg chg="del mod">
          <ac:chgData name="Perez Diaz, Karen" userId="17027623-4de6-4c48-9453-394c2c5804f8" providerId="ADAL" clId="{29370469-C559-41E6-B5B3-74A9DA2D409B}" dt="2021-01-28T15:45:11.101" v="1309" actId="478"/>
          <ac:spMkLst>
            <pc:docMk/>
            <pc:sldMk cId="2148285342" sldId="747"/>
            <ac:spMk id="11" creationId="{728DB449-6AC5-415B-AD63-6D253B91B5F8}"/>
          </ac:spMkLst>
        </pc:spChg>
        <pc:spChg chg="mod">
          <ac:chgData name="Perez Diaz, Karen" userId="17027623-4de6-4c48-9453-394c2c5804f8" providerId="ADAL" clId="{29370469-C559-41E6-B5B3-74A9DA2D409B}" dt="2021-01-28T16:32:48.662" v="1455" actId="1076"/>
          <ac:spMkLst>
            <pc:docMk/>
            <pc:sldMk cId="2148285342" sldId="747"/>
            <ac:spMk id="17" creationId="{C1BA304E-4D00-4467-9A6C-60D0F96B1272}"/>
          </ac:spMkLst>
        </pc:spChg>
        <pc:spChg chg="mod">
          <ac:chgData name="Perez Diaz, Karen" userId="17027623-4de6-4c48-9453-394c2c5804f8" providerId="ADAL" clId="{29370469-C559-41E6-B5B3-74A9DA2D409B}" dt="2021-01-28T16:32:48.662" v="1455" actId="1076"/>
          <ac:spMkLst>
            <pc:docMk/>
            <pc:sldMk cId="2148285342" sldId="747"/>
            <ac:spMk id="18" creationId="{1FD44B30-90FA-490E-A024-06171BB7986B}"/>
          </ac:spMkLst>
        </pc:spChg>
        <pc:spChg chg="mod">
          <ac:chgData name="Perez Diaz, Karen" userId="17027623-4de6-4c48-9453-394c2c5804f8" providerId="ADAL" clId="{29370469-C559-41E6-B5B3-74A9DA2D409B}" dt="2021-01-28T16:32:48.662" v="1455" actId="1076"/>
          <ac:spMkLst>
            <pc:docMk/>
            <pc:sldMk cId="2148285342" sldId="747"/>
            <ac:spMk id="19" creationId="{2D133A89-F002-41DF-BE8A-052612A491AC}"/>
          </ac:spMkLst>
        </pc:spChg>
        <pc:spChg chg="mod">
          <ac:chgData name="Perez Diaz, Karen" userId="17027623-4de6-4c48-9453-394c2c5804f8" providerId="ADAL" clId="{29370469-C559-41E6-B5B3-74A9DA2D409B}" dt="2021-01-28T15:45:22.979" v="1312" actId="1076"/>
          <ac:spMkLst>
            <pc:docMk/>
            <pc:sldMk cId="2148285342" sldId="747"/>
            <ac:spMk id="32" creationId="{C23CAF40-5081-4672-BB4F-CE5D10092D0A}"/>
          </ac:spMkLst>
        </pc:spChg>
        <pc:spChg chg="del">
          <ac:chgData name="Perez Diaz, Karen" userId="17027623-4de6-4c48-9453-394c2c5804f8" providerId="ADAL" clId="{29370469-C559-41E6-B5B3-74A9DA2D409B}" dt="2021-01-28T16:32:19.169" v="1451" actId="478"/>
          <ac:spMkLst>
            <pc:docMk/>
            <pc:sldMk cId="2148285342" sldId="747"/>
            <ac:spMk id="34" creationId="{382E8A01-BEF3-48DC-8ADF-624A68CB482B}"/>
          </ac:spMkLst>
        </pc:spChg>
        <pc:spChg chg="mod">
          <ac:chgData name="Perez Diaz, Karen" userId="17027623-4de6-4c48-9453-394c2c5804f8" providerId="ADAL" clId="{29370469-C559-41E6-B5B3-74A9DA2D409B}" dt="2021-01-28T16:32:48.662" v="1455" actId="1076"/>
          <ac:spMkLst>
            <pc:docMk/>
            <pc:sldMk cId="2148285342" sldId="747"/>
            <ac:spMk id="35" creationId="{2ACAE726-6B31-4DBD-9287-68684D0D1267}"/>
          </ac:spMkLst>
        </pc:spChg>
        <pc:spChg chg="mod">
          <ac:chgData name="Perez Diaz, Karen" userId="17027623-4de6-4c48-9453-394c2c5804f8" providerId="ADAL" clId="{29370469-C559-41E6-B5B3-74A9DA2D409B}" dt="2021-01-28T15:46:06.506" v="1317" actId="1076"/>
          <ac:spMkLst>
            <pc:docMk/>
            <pc:sldMk cId="2148285342" sldId="747"/>
            <ac:spMk id="36" creationId="{B1C07FB1-E4F7-46B0-9153-B6C0A2878CC2}"/>
          </ac:spMkLst>
        </pc:spChg>
        <pc:spChg chg="mod">
          <ac:chgData name="Perez Diaz, Karen" userId="17027623-4de6-4c48-9453-394c2c5804f8" providerId="ADAL" clId="{29370469-C559-41E6-B5B3-74A9DA2D409B}" dt="2021-01-28T15:45:27.058" v="1314" actId="14100"/>
          <ac:spMkLst>
            <pc:docMk/>
            <pc:sldMk cId="2148285342" sldId="747"/>
            <ac:spMk id="50" creationId="{75207217-91AF-4E8B-A9E8-A32EC790D29A}"/>
          </ac:spMkLst>
        </pc:spChg>
        <pc:spChg chg="add mod">
          <ac:chgData name="Perez Diaz, Karen" userId="17027623-4de6-4c48-9453-394c2c5804f8" providerId="ADAL" clId="{29370469-C559-41E6-B5B3-74A9DA2D409B}" dt="2021-01-28T15:46:27.792" v="1320" actId="1076"/>
          <ac:spMkLst>
            <pc:docMk/>
            <pc:sldMk cId="2148285342" sldId="747"/>
            <ac:spMk id="64" creationId="{03DEE240-39EF-41F8-9E27-4ABF62FE7F2D}"/>
          </ac:spMkLst>
        </pc:spChg>
        <pc:spChg chg="add mod">
          <ac:chgData name="Perez Diaz, Karen" userId="17027623-4de6-4c48-9453-394c2c5804f8" providerId="ADAL" clId="{29370469-C559-41E6-B5B3-74A9DA2D409B}" dt="2021-01-28T15:46:30.061" v="1321" actId="1076"/>
          <ac:spMkLst>
            <pc:docMk/>
            <pc:sldMk cId="2148285342" sldId="747"/>
            <ac:spMk id="66" creationId="{2E77CB89-AD7D-476B-84C4-0C8C350842FA}"/>
          </ac:spMkLst>
        </pc:spChg>
        <pc:spChg chg="add mod">
          <ac:chgData name="Perez Diaz, Karen" userId="17027623-4de6-4c48-9453-394c2c5804f8" providerId="ADAL" clId="{29370469-C559-41E6-B5B3-74A9DA2D409B}" dt="2021-01-28T15:46:35.311" v="1323" actId="1076"/>
          <ac:spMkLst>
            <pc:docMk/>
            <pc:sldMk cId="2148285342" sldId="747"/>
            <ac:spMk id="68" creationId="{03530DAA-43C2-4E61-9B95-37B2D7EF35A1}"/>
          </ac:spMkLst>
        </pc:spChg>
        <pc:spChg chg="add mod">
          <ac:chgData name="Perez Diaz, Karen" userId="17027623-4de6-4c48-9453-394c2c5804f8" providerId="ADAL" clId="{29370469-C559-41E6-B5B3-74A9DA2D409B}" dt="2021-01-28T15:46:27.792" v="1320" actId="1076"/>
          <ac:spMkLst>
            <pc:docMk/>
            <pc:sldMk cId="2148285342" sldId="747"/>
            <ac:spMk id="73" creationId="{6C2F61A3-62C0-4185-8559-7DB924233012}"/>
          </ac:spMkLst>
        </pc:spChg>
        <pc:spChg chg="add mod">
          <ac:chgData name="Perez Diaz, Karen" userId="17027623-4de6-4c48-9453-394c2c5804f8" providerId="ADAL" clId="{29370469-C559-41E6-B5B3-74A9DA2D409B}" dt="2021-01-28T15:46:27.792" v="1320" actId="1076"/>
          <ac:spMkLst>
            <pc:docMk/>
            <pc:sldMk cId="2148285342" sldId="747"/>
            <ac:spMk id="74" creationId="{D8BBD953-2E4B-4E10-9735-7619393A3684}"/>
          </ac:spMkLst>
        </pc:spChg>
        <pc:spChg chg="add mod">
          <ac:chgData name="Perez Diaz, Karen" userId="17027623-4de6-4c48-9453-394c2c5804f8" providerId="ADAL" clId="{29370469-C559-41E6-B5B3-74A9DA2D409B}" dt="2021-01-28T15:46:27.792" v="1320" actId="1076"/>
          <ac:spMkLst>
            <pc:docMk/>
            <pc:sldMk cId="2148285342" sldId="747"/>
            <ac:spMk id="75" creationId="{C92FB33A-C1D7-4991-9099-268A738397E2}"/>
          </ac:spMkLst>
        </pc:spChg>
        <pc:spChg chg="add mod">
          <ac:chgData name="Perez Diaz, Karen" userId="17027623-4de6-4c48-9453-394c2c5804f8" providerId="ADAL" clId="{29370469-C559-41E6-B5B3-74A9DA2D409B}" dt="2021-01-28T15:46:27.792" v="1320" actId="1076"/>
          <ac:spMkLst>
            <pc:docMk/>
            <pc:sldMk cId="2148285342" sldId="747"/>
            <ac:spMk id="76" creationId="{802C1536-C101-4469-A4B9-DCE1820FE2E1}"/>
          </ac:spMkLst>
        </pc:spChg>
        <pc:spChg chg="add mod">
          <ac:chgData name="Perez Diaz, Karen" userId="17027623-4de6-4c48-9453-394c2c5804f8" providerId="ADAL" clId="{29370469-C559-41E6-B5B3-74A9DA2D409B}" dt="2021-01-28T15:46:27.792" v="1320" actId="1076"/>
          <ac:spMkLst>
            <pc:docMk/>
            <pc:sldMk cId="2148285342" sldId="747"/>
            <ac:spMk id="77" creationId="{CB325852-FA61-4DFC-A927-FF15BDFE42A0}"/>
          </ac:spMkLst>
        </pc:spChg>
        <pc:grpChg chg="mod">
          <ac:chgData name="Perez Diaz, Karen" userId="17027623-4de6-4c48-9453-394c2c5804f8" providerId="ADAL" clId="{29370469-C559-41E6-B5B3-74A9DA2D409B}" dt="2021-01-28T16:32:22.369" v="1452" actId="1076"/>
          <ac:grpSpMkLst>
            <pc:docMk/>
            <pc:sldMk cId="2148285342" sldId="747"/>
            <ac:grpSpMk id="21" creationId="{9D6DA8C5-2116-432C-BA28-25EE6D29583D}"/>
          </ac:grpSpMkLst>
        </pc:grpChg>
        <pc:grpChg chg="add mod">
          <ac:chgData name="Perez Diaz, Karen" userId="17027623-4de6-4c48-9453-394c2c5804f8" providerId="ADAL" clId="{29370469-C559-41E6-B5B3-74A9DA2D409B}" dt="2021-01-28T15:46:33.442" v="1322" actId="1076"/>
          <ac:grpSpMkLst>
            <pc:docMk/>
            <pc:sldMk cId="2148285342" sldId="747"/>
            <ac:grpSpMk id="80" creationId="{354067F1-80EC-4900-AFC6-1EDF4546B739}"/>
          </ac:grpSpMkLst>
        </pc:grpChg>
        <pc:cxnChg chg="mod">
          <ac:chgData name="Perez Diaz, Karen" userId="17027623-4de6-4c48-9453-394c2c5804f8" providerId="ADAL" clId="{29370469-C559-41E6-B5B3-74A9DA2D409B}" dt="2021-01-28T15:45:59.139" v="1315" actId="1076"/>
          <ac:cxnSpMkLst>
            <pc:docMk/>
            <pc:sldMk cId="2148285342" sldId="747"/>
            <ac:cxnSpMk id="20" creationId="{348D7C3F-B83C-43A8-9D28-CCC9C4BBB069}"/>
          </ac:cxnSpMkLst>
        </pc:cxnChg>
        <pc:cxnChg chg="mod">
          <ac:chgData name="Perez Diaz, Karen" userId="17027623-4de6-4c48-9453-394c2c5804f8" providerId="ADAL" clId="{29370469-C559-41E6-B5B3-74A9DA2D409B}" dt="2021-01-28T15:45:59.139" v="1315" actId="1076"/>
          <ac:cxnSpMkLst>
            <pc:docMk/>
            <pc:sldMk cId="2148285342" sldId="747"/>
            <ac:cxnSpMk id="27" creationId="{241AE13A-CC4B-4DEF-B58D-790536D65968}"/>
          </ac:cxnSpMkLst>
        </pc:cxnChg>
        <pc:cxnChg chg="mod">
          <ac:chgData name="Perez Diaz, Karen" userId="17027623-4de6-4c48-9453-394c2c5804f8" providerId="ADAL" clId="{29370469-C559-41E6-B5B3-74A9DA2D409B}" dt="2021-01-28T15:45:59.139" v="1315" actId="1076"/>
          <ac:cxnSpMkLst>
            <pc:docMk/>
            <pc:sldMk cId="2148285342" sldId="747"/>
            <ac:cxnSpMk id="31" creationId="{8FEF314A-9932-4F10-8E0C-6B6DF5F71CD9}"/>
          </ac:cxnSpMkLst>
        </pc:cxnChg>
        <pc:cxnChg chg="mod">
          <ac:chgData name="Perez Diaz, Karen" userId="17027623-4de6-4c48-9453-394c2c5804f8" providerId="ADAL" clId="{29370469-C559-41E6-B5B3-74A9DA2D409B}" dt="2021-01-28T16:32:22.369" v="1452" actId="1076"/>
          <ac:cxnSpMkLst>
            <pc:docMk/>
            <pc:sldMk cId="2148285342" sldId="747"/>
            <ac:cxnSpMk id="38" creationId="{7F2776A2-55FA-4901-8D56-61F7EDBF5378}"/>
          </ac:cxnSpMkLst>
        </pc:cxnChg>
        <pc:cxnChg chg="mod">
          <ac:chgData name="Perez Diaz, Karen" userId="17027623-4de6-4c48-9453-394c2c5804f8" providerId="ADAL" clId="{29370469-C559-41E6-B5B3-74A9DA2D409B}" dt="2021-01-28T16:32:22.369" v="1452" actId="1076"/>
          <ac:cxnSpMkLst>
            <pc:docMk/>
            <pc:sldMk cId="2148285342" sldId="747"/>
            <ac:cxnSpMk id="40" creationId="{41BF7768-DCB4-4368-9877-C2C93FF91055}"/>
          </ac:cxnSpMkLst>
        </pc:cxnChg>
        <pc:cxnChg chg="mod">
          <ac:chgData name="Perez Diaz, Karen" userId="17027623-4de6-4c48-9453-394c2c5804f8" providerId="ADAL" clId="{29370469-C559-41E6-B5B3-74A9DA2D409B}" dt="2021-01-28T15:46:42.614" v="1324" actId="1076"/>
          <ac:cxnSpMkLst>
            <pc:docMk/>
            <pc:sldMk cId="2148285342" sldId="747"/>
            <ac:cxnSpMk id="42" creationId="{3D295E1E-2075-4B22-857E-FD03C60F7025}"/>
          </ac:cxnSpMkLst>
        </pc:cxnChg>
        <pc:cxnChg chg="mod">
          <ac:chgData name="Perez Diaz, Karen" userId="17027623-4de6-4c48-9453-394c2c5804f8" providerId="ADAL" clId="{29370469-C559-41E6-B5B3-74A9DA2D409B}" dt="2021-01-28T16:32:22.369" v="1452" actId="1076"/>
          <ac:cxnSpMkLst>
            <pc:docMk/>
            <pc:sldMk cId="2148285342" sldId="747"/>
            <ac:cxnSpMk id="47" creationId="{027D99D2-D61F-43DD-88D9-A764AB3F4C74}"/>
          </ac:cxnSpMkLst>
        </pc:cxnChg>
        <pc:cxnChg chg="mod">
          <ac:chgData name="Perez Diaz, Karen" userId="17027623-4de6-4c48-9453-394c2c5804f8" providerId="ADAL" clId="{29370469-C559-41E6-B5B3-74A9DA2D409B}" dt="2021-01-28T15:46:42.614" v="1324" actId="1076"/>
          <ac:cxnSpMkLst>
            <pc:docMk/>
            <pc:sldMk cId="2148285342" sldId="747"/>
            <ac:cxnSpMk id="49" creationId="{EB1E3269-08BD-4913-A0C9-43F30A56D799}"/>
          </ac:cxnSpMkLst>
        </pc:cxnChg>
        <pc:cxnChg chg="del mod">
          <ac:chgData name="Perez Diaz, Karen" userId="17027623-4de6-4c48-9453-394c2c5804f8" providerId="ADAL" clId="{29370469-C559-41E6-B5B3-74A9DA2D409B}" dt="2021-01-28T16:32:50.867" v="1456" actId="478"/>
          <ac:cxnSpMkLst>
            <pc:docMk/>
            <pc:sldMk cId="2148285342" sldId="747"/>
            <ac:cxnSpMk id="52" creationId="{9A801628-898B-4840-8337-E3F4FCEE2F10}"/>
          </ac:cxnSpMkLst>
        </pc:cxnChg>
        <pc:cxnChg chg="mod">
          <ac:chgData name="Perez Diaz, Karen" userId="17027623-4de6-4c48-9453-394c2c5804f8" providerId="ADAL" clId="{29370469-C559-41E6-B5B3-74A9DA2D409B}" dt="2021-01-28T15:45:59.139" v="1315" actId="1076"/>
          <ac:cxnSpMkLst>
            <pc:docMk/>
            <pc:sldMk cId="2148285342" sldId="747"/>
            <ac:cxnSpMk id="65" creationId="{9F79DEE4-32EB-4954-BB88-47EAFD90F0F2}"/>
          </ac:cxnSpMkLst>
        </pc:cxnChg>
        <pc:cxnChg chg="mod">
          <ac:chgData name="Perez Diaz, Karen" userId="17027623-4de6-4c48-9453-394c2c5804f8" providerId="ADAL" clId="{29370469-C559-41E6-B5B3-74A9DA2D409B}" dt="2021-01-28T15:46:42.614" v="1324" actId="1076"/>
          <ac:cxnSpMkLst>
            <pc:docMk/>
            <pc:sldMk cId="2148285342" sldId="747"/>
            <ac:cxnSpMk id="67" creationId="{BCC689C9-66DC-4DAB-980A-751E46C8B338}"/>
          </ac:cxnSpMkLst>
        </pc:cxnChg>
        <pc:cxnChg chg="add mod">
          <ac:chgData name="Perez Diaz, Karen" userId="17027623-4de6-4c48-9453-394c2c5804f8" providerId="ADAL" clId="{29370469-C559-41E6-B5B3-74A9DA2D409B}" dt="2021-01-28T15:46:27.792" v="1320" actId="1076"/>
          <ac:cxnSpMkLst>
            <pc:docMk/>
            <pc:sldMk cId="2148285342" sldId="747"/>
            <ac:cxnSpMk id="70" creationId="{B9DD528B-FE20-49A9-BB03-5E2675247ED8}"/>
          </ac:cxnSpMkLst>
        </pc:cxnChg>
        <pc:cxnChg chg="add mod">
          <ac:chgData name="Perez Diaz, Karen" userId="17027623-4de6-4c48-9453-394c2c5804f8" providerId="ADAL" clId="{29370469-C559-41E6-B5B3-74A9DA2D409B}" dt="2021-01-28T15:46:35.311" v="1323" actId="1076"/>
          <ac:cxnSpMkLst>
            <pc:docMk/>
            <pc:sldMk cId="2148285342" sldId="747"/>
            <ac:cxnSpMk id="71" creationId="{DCF24850-4506-4A35-9EEF-2A28B843F6A5}"/>
          </ac:cxnSpMkLst>
        </pc:cxnChg>
        <pc:cxnChg chg="add mod">
          <ac:chgData name="Perez Diaz, Karen" userId="17027623-4de6-4c48-9453-394c2c5804f8" providerId="ADAL" clId="{29370469-C559-41E6-B5B3-74A9DA2D409B}" dt="2021-01-28T15:46:27.792" v="1320" actId="1076"/>
          <ac:cxnSpMkLst>
            <pc:docMk/>
            <pc:sldMk cId="2148285342" sldId="747"/>
            <ac:cxnSpMk id="72" creationId="{505244B7-E0A0-41D4-99C3-A8AE22E49AB4}"/>
          </ac:cxnSpMkLst>
        </pc:cxnChg>
        <pc:cxnChg chg="add mod">
          <ac:chgData name="Perez Diaz, Karen" userId="17027623-4de6-4c48-9453-394c2c5804f8" providerId="ADAL" clId="{29370469-C559-41E6-B5B3-74A9DA2D409B}" dt="2021-01-28T15:46:27.792" v="1320" actId="1076"/>
          <ac:cxnSpMkLst>
            <pc:docMk/>
            <pc:sldMk cId="2148285342" sldId="747"/>
            <ac:cxnSpMk id="78" creationId="{F8ACD14F-4738-4D36-81B6-92492D3EE79A}"/>
          </ac:cxnSpMkLst>
        </pc:cxnChg>
        <pc:cxnChg chg="add mod">
          <ac:chgData name="Perez Diaz, Karen" userId="17027623-4de6-4c48-9453-394c2c5804f8" providerId="ADAL" clId="{29370469-C559-41E6-B5B3-74A9DA2D409B}" dt="2021-01-28T15:46:30.061" v="1321" actId="1076"/>
          <ac:cxnSpMkLst>
            <pc:docMk/>
            <pc:sldMk cId="2148285342" sldId="747"/>
            <ac:cxnSpMk id="79" creationId="{173153CA-015E-4471-AB91-B3572B3C6A31}"/>
          </ac:cxnSpMkLst>
        </pc:cxnChg>
        <pc:cxnChg chg="mod">
          <ac:chgData name="Perez Diaz, Karen" userId="17027623-4de6-4c48-9453-394c2c5804f8" providerId="ADAL" clId="{29370469-C559-41E6-B5B3-74A9DA2D409B}" dt="2021-01-28T16:32:48.662" v="1455" actId="1076"/>
          <ac:cxnSpMkLst>
            <pc:docMk/>
            <pc:sldMk cId="2148285342" sldId="747"/>
            <ac:cxnSpMk id="170" creationId="{22C87227-5D49-40A2-A3BC-8592EC3CD579}"/>
          </ac:cxnSpMkLst>
        </pc:cxnChg>
        <pc:cxnChg chg="del mod">
          <ac:chgData name="Perez Diaz, Karen" userId="17027623-4de6-4c48-9453-394c2c5804f8" providerId="ADAL" clId="{29370469-C559-41E6-B5B3-74A9DA2D409B}" dt="2021-01-28T15:45:13.647" v="1310" actId="478"/>
          <ac:cxnSpMkLst>
            <pc:docMk/>
            <pc:sldMk cId="2148285342" sldId="747"/>
            <ac:cxnSpMk id="203" creationId="{C8A4CE5A-2494-44D7-B7F2-6D9571F3E921}"/>
          </ac:cxnSpMkLst>
        </pc:cxnChg>
      </pc:sldChg>
      <pc:sldChg chg="add">
        <pc:chgData name="Perez Diaz, Karen" userId="17027623-4de6-4c48-9453-394c2c5804f8" providerId="ADAL" clId="{29370469-C559-41E6-B5B3-74A9DA2D409B}" dt="2021-01-28T16:20:48.269" v="1381"/>
        <pc:sldMkLst>
          <pc:docMk/>
          <pc:sldMk cId="1470794818" sldId="748"/>
        </pc:sldMkLst>
      </pc:sldChg>
      <pc:sldChg chg="addSp delSp modSp add">
        <pc:chgData name="Perez Diaz, Karen" userId="17027623-4de6-4c48-9453-394c2c5804f8" providerId="ADAL" clId="{29370469-C559-41E6-B5B3-74A9DA2D409B}" dt="2021-01-28T16:51:54.056" v="1757" actId="1076"/>
        <pc:sldMkLst>
          <pc:docMk/>
          <pc:sldMk cId="3170628248" sldId="749"/>
        </pc:sldMkLst>
        <pc:spChg chg="mod">
          <ac:chgData name="Perez Diaz, Karen" userId="17027623-4de6-4c48-9453-394c2c5804f8" providerId="ADAL" clId="{29370469-C559-41E6-B5B3-74A9DA2D409B}" dt="2021-01-28T16:51:54.056" v="1757" actId="1076"/>
          <ac:spMkLst>
            <pc:docMk/>
            <pc:sldMk cId="3170628248" sldId="749"/>
            <ac:spMk id="6" creationId="{46EE6365-81AD-4FCA-A5B9-4F4D0C586289}"/>
          </ac:spMkLst>
        </pc:spChg>
        <pc:spChg chg="mod">
          <ac:chgData name="Perez Diaz, Karen" userId="17027623-4de6-4c48-9453-394c2c5804f8" providerId="ADAL" clId="{29370469-C559-41E6-B5B3-74A9DA2D409B}" dt="2021-01-28T16:51:54.056" v="1757" actId="1076"/>
          <ac:spMkLst>
            <pc:docMk/>
            <pc:sldMk cId="3170628248" sldId="749"/>
            <ac:spMk id="7" creationId="{CBBEE985-DFA9-4335-84E8-9CC49B0EB534}"/>
          </ac:spMkLst>
        </pc:spChg>
        <pc:spChg chg="mod">
          <ac:chgData name="Perez Diaz, Karen" userId="17027623-4de6-4c48-9453-394c2c5804f8" providerId="ADAL" clId="{29370469-C559-41E6-B5B3-74A9DA2D409B}" dt="2021-01-28T16:51:54.056" v="1757" actId="1076"/>
          <ac:spMkLst>
            <pc:docMk/>
            <pc:sldMk cId="3170628248" sldId="749"/>
            <ac:spMk id="8" creationId="{0AEC7480-7499-442D-9B7F-9286FAFB0818}"/>
          </ac:spMkLst>
        </pc:spChg>
        <pc:spChg chg="mod">
          <ac:chgData name="Perez Diaz, Karen" userId="17027623-4de6-4c48-9453-394c2c5804f8" providerId="ADAL" clId="{29370469-C559-41E6-B5B3-74A9DA2D409B}" dt="2021-01-28T16:51:54.056" v="1757" actId="1076"/>
          <ac:spMkLst>
            <pc:docMk/>
            <pc:sldMk cId="3170628248" sldId="749"/>
            <ac:spMk id="9" creationId="{AD31964D-E5E9-49A2-B1C4-DFCAC54C0BAF}"/>
          </ac:spMkLst>
        </pc:spChg>
        <pc:spChg chg="mod">
          <ac:chgData name="Perez Diaz, Karen" userId="17027623-4de6-4c48-9453-394c2c5804f8" providerId="ADAL" clId="{29370469-C559-41E6-B5B3-74A9DA2D409B}" dt="2021-01-28T16:51:54.056" v="1757" actId="1076"/>
          <ac:spMkLst>
            <pc:docMk/>
            <pc:sldMk cId="3170628248" sldId="749"/>
            <ac:spMk id="10" creationId="{EE9C9ED5-ABCE-4FDB-86CF-FDFC75DD74BD}"/>
          </ac:spMkLst>
        </pc:spChg>
        <pc:spChg chg="del">
          <ac:chgData name="Perez Diaz, Karen" userId="17027623-4de6-4c48-9453-394c2c5804f8" providerId="ADAL" clId="{29370469-C559-41E6-B5B3-74A9DA2D409B}" dt="2021-01-28T16:34:47.849" v="1459" actId="478"/>
          <ac:spMkLst>
            <pc:docMk/>
            <pc:sldMk cId="3170628248" sldId="749"/>
            <ac:spMk id="11" creationId="{728DB449-6AC5-415B-AD63-6D253B91B5F8}"/>
          </ac:spMkLst>
        </pc:spChg>
        <pc:spChg chg="mod">
          <ac:chgData name="Perez Diaz, Karen" userId="17027623-4de6-4c48-9453-394c2c5804f8" providerId="ADAL" clId="{29370469-C559-41E6-B5B3-74A9DA2D409B}" dt="2021-01-28T16:51:54.056" v="1757" actId="1076"/>
          <ac:spMkLst>
            <pc:docMk/>
            <pc:sldMk cId="3170628248" sldId="749"/>
            <ac:spMk id="12" creationId="{FE80D894-D049-4249-89C3-2CB429A7EF23}"/>
          </ac:spMkLst>
        </pc:spChg>
        <pc:spChg chg="mod">
          <ac:chgData name="Perez Diaz, Karen" userId="17027623-4de6-4c48-9453-394c2c5804f8" providerId="ADAL" clId="{29370469-C559-41E6-B5B3-74A9DA2D409B}" dt="2021-01-28T16:51:54.056" v="1757" actId="1076"/>
          <ac:spMkLst>
            <pc:docMk/>
            <pc:sldMk cId="3170628248" sldId="749"/>
            <ac:spMk id="14" creationId="{F6B3E33B-279A-4B57-A0C7-AFD4CB2BA78F}"/>
          </ac:spMkLst>
        </pc:spChg>
        <pc:spChg chg="mod">
          <ac:chgData name="Perez Diaz, Karen" userId="17027623-4de6-4c48-9453-394c2c5804f8" providerId="ADAL" clId="{29370469-C559-41E6-B5B3-74A9DA2D409B}" dt="2021-01-28T16:51:54.056" v="1757" actId="1076"/>
          <ac:spMkLst>
            <pc:docMk/>
            <pc:sldMk cId="3170628248" sldId="749"/>
            <ac:spMk id="36" creationId="{B1C07FB1-E4F7-46B0-9153-B6C0A2878CC2}"/>
          </ac:spMkLst>
        </pc:spChg>
        <pc:spChg chg="add mod">
          <ac:chgData name="Perez Diaz, Karen" userId="17027623-4de6-4c48-9453-394c2c5804f8" providerId="ADAL" clId="{29370469-C559-41E6-B5B3-74A9DA2D409B}" dt="2021-01-28T16:51:46.689" v="1756" actId="1076"/>
          <ac:spMkLst>
            <pc:docMk/>
            <pc:sldMk cId="3170628248" sldId="749"/>
            <ac:spMk id="105" creationId="{BEC36B5A-7EB2-43A0-BD86-B837DED8DE95}"/>
          </ac:spMkLst>
        </pc:spChg>
        <pc:spChg chg="add mod">
          <ac:chgData name="Perez Diaz, Karen" userId="17027623-4de6-4c48-9453-394c2c5804f8" providerId="ADAL" clId="{29370469-C559-41E6-B5B3-74A9DA2D409B}" dt="2021-01-28T16:51:46.689" v="1756" actId="1076"/>
          <ac:spMkLst>
            <pc:docMk/>
            <pc:sldMk cId="3170628248" sldId="749"/>
            <ac:spMk id="106" creationId="{6D6ECF35-C32B-4213-B8CE-3A997B9FF481}"/>
          </ac:spMkLst>
        </pc:spChg>
        <pc:spChg chg="add mod">
          <ac:chgData name="Perez Diaz, Karen" userId="17027623-4de6-4c48-9453-394c2c5804f8" providerId="ADAL" clId="{29370469-C559-41E6-B5B3-74A9DA2D409B}" dt="2021-01-28T16:51:46.689" v="1756" actId="1076"/>
          <ac:spMkLst>
            <pc:docMk/>
            <pc:sldMk cId="3170628248" sldId="749"/>
            <ac:spMk id="107" creationId="{440FFB9C-94D4-4708-A9DC-34AAC6B046DA}"/>
          </ac:spMkLst>
        </pc:spChg>
        <pc:spChg chg="add mod">
          <ac:chgData name="Perez Diaz, Karen" userId="17027623-4de6-4c48-9453-394c2c5804f8" providerId="ADAL" clId="{29370469-C559-41E6-B5B3-74A9DA2D409B}" dt="2021-01-28T16:51:46.689" v="1756" actId="1076"/>
          <ac:spMkLst>
            <pc:docMk/>
            <pc:sldMk cId="3170628248" sldId="749"/>
            <ac:spMk id="111" creationId="{A063BFA1-D944-4ED3-95B7-C1617A7EA0F9}"/>
          </ac:spMkLst>
        </pc:spChg>
        <pc:spChg chg="add mod">
          <ac:chgData name="Perez Diaz, Karen" userId="17027623-4de6-4c48-9453-394c2c5804f8" providerId="ADAL" clId="{29370469-C559-41E6-B5B3-74A9DA2D409B}" dt="2021-01-28T16:51:46.689" v="1756" actId="1076"/>
          <ac:spMkLst>
            <pc:docMk/>
            <pc:sldMk cId="3170628248" sldId="749"/>
            <ac:spMk id="112" creationId="{ED2670D7-5235-4D4A-869B-5068651CDF74}"/>
          </ac:spMkLst>
        </pc:spChg>
        <pc:spChg chg="add mod">
          <ac:chgData name="Perez Diaz, Karen" userId="17027623-4de6-4c48-9453-394c2c5804f8" providerId="ADAL" clId="{29370469-C559-41E6-B5B3-74A9DA2D409B}" dt="2021-01-28T16:51:46.689" v="1756" actId="1076"/>
          <ac:spMkLst>
            <pc:docMk/>
            <pc:sldMk cId="3170628248" sldId="749"/>
            <ac:spMk id="113" creationId="{CAED5ECA-DF73-4AAE-B74E-FC777DE1010E}"/>
          </ac:spMkLst>
        </pc:spChg>
        <pc:spChg chg="add mod">
          <ac:chgData name="Perez Diaz, Karen" userId="17027623-4de6-4c48-9453-394c2c5804f8" providerId="ADAL" clId="{29370469-C559-41E6-B5B3-74A9DA2D409B}" dt="2021-01-28T16:51:46.689" v="1756" actId="1076"/>
          <ac:spMkLst>
            <pc:docMk/>
            <pc:sldMk cId="3170628248" sldId="749"/>
            <ac:spMk id="114" creationId="{E764AE2D-0FD2-4A7A-97D3-2191B1E4982F}"/>
          </ac:spMkLst>
        </pc:spChg>
        <pc:spChg chg="add mod">
          <ac:chgData name="Perez Diaz, Karen" userId="17027623-4de6-4c48-9453-394c2c5804f8" providerId="ADAL" clId="{29370469-C559-41E6-B5B3-74A9DA2D409B}" dt="2021-01-28T16:51:46.689" v="1756" actId="1076"/>
          <ac:spMkLst>
            <pc:docMk/>
            <pc:sldMk cId="3170628248" sldId="749"/>
            <ac:spMk id="115" creationId="{735CAD3E-3CFB-4A7D-9DC0-8715BEBCB5C7}"/>
          </ac:spMkLst>
        </pc:spChg>
        <pc:grpChg chg="add mod">
          <ac:chgData name="Perez Diaz, Karen" userId="17027623-4de6-4c48-9453-394c2c5804f8" providerId="ADAL" clId="{29370469-C559-41E6-B5B3-74A9DA2D409B}" dt="2021-01-28T16:51:46.689" v="1756" actId="1076"/>
          <ac:grpSpMkLst>
            <pc:docMk/>
            <pc:sldMk cId="3170628248" sldId="749"/>
            <ac:grpSpMk id="118" creationId="{6B36BE72-7F9C-4D83-8F46-F115176D5DEE}"/>
          </ac:grpSpMkLst>
        </pc:grpChg>
        <pc:grpChg chg="mod">
          <ac:chgData name="Perez Diaz, Karen" userId="17027623-4de6-4c48-9453-394c2c5804f8" providerId="ADAL" clId="{29370469-C559-41E6-B5B3-74A9DA2D409B}" dt="2021-01-28T16:51:54.056" v="1757" actId="1076"/>
          <ac:grpSpMkLst>
            <pc:docMk/>
            <pc:sldMk cId="3170628248" sldId="749"/>
            <ac:grpSpMk id="217" creationId="{9E5C4412-7EC4-487F-854E-0A306D3FA7D8}"/>
          </ac:grpSpMkLst>
        </pc:grpChg>
        <pc:cxnChg chg="mod">
          <ac:chgData name="Perez Diaz, Karen" userId="17027623-4de6-4c48-9453-394c2c5804f8" providerId="ADAL" clId="{29370469-C559-41E6-B5B3-74A9DA2D409B}" dt="2021-01-28T16:51:54.056" v="1757" actId="1076"/>
          <ac:cxnSpMkLst>
            <pc:docMk/>
            <pc:sldMk cId="3170628248" sldId="749"/>
            <ac:cxnSpMk id="20" creationId="{348D7C3F-B83C-43A8-9D28-CCC9C4BBB069}"/>
          </ac:cxnSpMkLst>
        </pc:cxnChg>
        <pc:cxnChg chg="mod">
          <ac:chgData name="Perez Diaz, Karen" userId="17027623-4de6-4c48-9453-394c2c5804f8" providerId="ADAL" clId="{29370469-C559-41E6-B5B3-74A9DA2D409B}" dt="2021-01-28T16:51:54.056" v="1757" actId="1076"/>
          <ac:cxnSpMkLst>
            <pc:docMk/>
            <pc:sldMk cId="3170628248" sldId="749"/>
            <ac:cxnSpMk id="25" creationId="{0FD92F1F-404B-4B75-922F-DC7CBDD99712}"/>
          </ac:cxnSpMkLst>
        </pc:cxnChg>
        <pc:cxnChg chg="mod">
          <ac:chgData name="Perez Diaz, Karen" userId="17027623-4de6-4c48-9453-394c2c5804f8" providerId="ADAL" clId="{29370469-C559-41E6-B5B3-74A9DA2D409B}" dt="2021-01-28T16:51:54.056" v="1757" actId="1076"/>
          <ac:cxnSpMkLst>
            <pc:docMk/>
            <pc:sldMk cId="3170628248" sldId="749"/>
            <ac:cxnSpMk id="27" creationId="{241AE13A-CC4B-4DEF-B58D-790536D65968}"/>
          </ac:cxnSpMkLst>
        </pc:cxnChg>
        <pc:cxnChg chg="mod">
          <ac:chgData name="Perez Diaz, Karen" userId="17027623-4de6-4c48-9453-394c2c5804f8" providerId="ADAL" clId="{29370469-C559-41E6-B5B3-74A9DA2D409B}" dt="2021-01-28T16:51:54.056" v="1757" actId="1076"/>
          <ac:cxnSpMkLst>
            <pc:docMk/>
            <pc:sldMk cId="3170628248" sldId="749"/>
            <ac:cxnSpMk id="31" creationId="{8FEF314A-9932-4F10-8E0C-6B6DF5F71CD9}"/>
          </ac:cxnSpMkLst>
        </pc:cxnChg>
        <pc:cxnChg chg="mod">
          <ac:chgData name="Perez Diaz, Karen" userId="17027623-4de6-4c48-9453-394c2c5804f8" providerId="ADAL" clId="{29370469-C559-41E6-B5B3-74A9DA2D409B}" dt="2021-01-28T16:51:32.413" v="1754" actId="1076"/>
          <ac:cxnSpMkLst>
            <pc:docMk/>
            <pc:sldMk cId="3170628248" sldId="749"/>
            <ac:cxnSpMk id="40" creationId="{41BF7768-DCB4-4368-9877-C2C93FF91055}"/>
          </ac:cxnSpMkLst>
        </pc:cxnChg>
        <pc:cxnChg chg="mod">
          <ac:chgData name="Perez Diaz, Karen" userId="17027623-4de6-4c48-9453-394c2c5804f8" providerId="ADAL" clId="{29370469-C559-41E6-B5B3-74A9DA2D409B}" dt="2021-01-28T16:51:32.413" v="1754" actId="1076"/>
          <ac:cxnSpMkLst>
            <pc:docMk/>
            <pc:sldMk cId="3170628248" sldId="749"/>
            <ac:cxnSpMk id="42" creationId="{3D295E1E-2075-4B22-857E-FD03C60F7025}"/>
          </ac:cxnSpMkLst>
        </pc:cxnChg>
        <pc:cxnChg chg="mod">
          <ac:chgData name="Perez Diaz, Karen" userId="17027623-4de6-4c48-9453-394c2c5804f8" providerId="ADAL" clId="{29370469-C559-41E6-B5B3-74A9DA2D409B}" dt="2021-01-28T16:51:32.413" v="1754" actId="1076"/>
          <ac:cxnSpMkLst>
            <pc:docMk/>
            <pc:sldMk cId="3170628248" sldId="749"/>
            <ac:cxnSpMk id="49" creationId="{EB1E3269-08BD-4913-A0C9-43F30A56D799}"/>
          </ac:cxnSpMkLst>
        </pc:cxnChg>
        <pc:cxnChg chg="mod">
          <ac:chgData name="Perez Diaz, Karen" userId="17027623-4de6-4c48-9453-394c2c5804f8" providerId="ADAL" clId="{29370469-C559-41E6-B5B3-74A9DA2D409B}" dt="2021-01-28T16:51:33.690" v="1755" actId="1076"/>
          <ac:cxnSpMkLst>
            <pc:docMk/>
            <pc:sldMk cId="3170628248" sldId="749"/>
            <ac:cxnSpMk id="58" creationId="{61486903-F490-4189-A8DE-CBD91F459B18}"/>
          </ac:cxnSpMkLst>
        </pc:cxnChg>
        <pc:cxnChg chg="mod">
          <ac:chgData name="Perez Diaz, Karen" userId="17027623-4de6-4c48-9453-394c2c5804f8" providerId="ADAL" clId="{29370469-C559-41E6-B5B3-74A9DA2D409B}" dt="2021-01-28T16:51:54.056" v="1757" actId="1076"/>
          <ac:cxnSpMkLst>
            <pc:docMk/>
            <pc:sldMk cId="3170628248" sldId="749"/>
            <ac:cxnSpMk id="65" creationId="{9F79DEE4-32EB-4954-BB88-47EAFD90F0F2}"/>
          </ac:cxnSpMkLst>
        </pc:cxnChg>
        <pc:cxnChg chg="mod">
          <ac:chgData name="Perez Diaz, Karen" userId="17027623-4de6-4c48-9453-394c2c5804f8" providerId="ADAL" clId="{29370469-C559-41E6-B5B3-74A9DA2D409B}" dt="2021-01-28T16:51:32.413" v="1754" actId="1076"/>
          <ac:cxnSpMkLst>
            <pc:docMk/>
            <pc:sldMk cId="3170628248" sldId="749"/>
            <ac:cxnSpMk id="67" creationId="{BCC689C9-66DC-4DAB-980A-751E46C8B338}"/>
          </ac:cxnSpMkLst>
        </pc:cxnChg>
        <pc:cxnChg chg="add mod">
          <ac:chgData name="Perez Diaz, Karen" userId="17027623-4de6-4c48-9453-394c2c5804f8" providerId="ADAL" clId="{29370469-C559-41E6-B5B3-74A9DA2D409B}" dt="2021-01-28T16:51:46.689" v="1756" actId="1076"/>
          <ac:cxnSpMkLst>
            <pc:docMk/>
            <pc:sldMk cId="3170628248" sldId="749"/>
            <ac:cxnSpMk id="108" creationId="{4B2ADA09-0B27-4A10-8143-73FC014C2D4D}"/>
          </ac:cxnSpMkLst>
        </pc:cxnChg>
        <pc:cxnChg chg="add mod">
          <ac:chgData name="Perez Diaz, Karen" userId="17027623-4de6-4c48-9453-394c2c5804f8" providerId="ADAL" clId="{29370469-C559-41E6-B5B3-74A9DA2D409B}" dt="2021-01-28T16:51:46.689" v="1756" actId="1076"/>
          <ac:cxnSpMkLst>
            <pc:docMk/>
            <pc:sldMk cId="3170628248" sldId="749"/>
            <ac:cxnSpMk id="109" creationId="{7BCF6360-AB3F-429E-B268-C804BE60EE19}"/>
          </ac:cxnSpMkLst>
        </pc:cxnChg>
        <pc:cxnChg chg="add mod">
          <ac:chgData name="Perez Diaz, Karen" userId="17027623-4de6-4c48-9453-394c2c5804f8" providerId="ADAL" clId="{29370469-C559-41E6-B5B3-74A9DA2D409B}" dt="2021-01-28T16:51:46.689" v="1756" actId="1076"/>
          <ac:cxnSpMkLst>
            <pc:docMk/>
            <pc:sldMk cId="3170628248" sldId="749"/>
            <ac:cxnSpMk id="110" creationId="{D42AA51F-4DA3-4364-AA2A-F7FD698C624E}"/>
          </ac:cxnSpMkLst>
        </pc:cxnChg>
        <pc:cxnChg chg="add mod">
          <ac:chgData name="Perez Diaz, Karen" userId="17027623-4de6-4c48-9453-394c2c5804f8" providerId="ADAL" clId="{29370469-C559-41E6-B5B3-74A9DA2D409B}" dt="2021-01-28T16:51:46.689" v="1756" actId="1076"/>
          <ac:cxnSpMkLst>
            <pc:docMk/>
            <pc:sldMk cId="3170628248" sldId="749"/>
            <ac:cxnSpMk id="116" creationId="{52CF43AC-B38B-4911-B10C-6B5824EEC3AC}"/>
          </ac:cxnSpMkLst>
        </pc:cxnChg>
        <pc:cxnChg chg="add mod">
          <ac:chgData name="Perez Diaz, Karen" userId="17027623-4de6-4c48-9453-394c2c5804f8" providerId="ADAL" clId="{29370469-C559-41E6-B5B3-74A9DA2D409B}" dt="2021-01-28T16:51:46.689" v="1756" actId="1076"/>
          <ac:cxnSpMkLst>
            <pc:docMk/>
            <pc:sldMk cId="3170628248" sldId="749"/>
            <ac:cxnSpMk id="117" creationId="{2C2FB829-5D35-4F54-B2F6-CDFE327A848C}"/>
          </ac:cxnSpMkLst>
        </pc:cxnChg>
        <pc:cxnChg chg="del mod">
          <ac:chgData name="Perez Diaz, Karen" userId="17027623-4de6-4c48-9453-394c2c5804f8" providerId="ADAL" clId="{29370469-C559-41E6-B5B3-74A9DA2D409B}" dt="2021-01-28T16:34:50.470" v="1460" actId="478"/>
          <ac:cxnSpMkLst>
            <pc:docMk/>
            <pc:sldMk cId="3170628248" sldId="749"/>
            <ac:cxnSpMk id="203" creationId="{C8A4CE5A-2494-44D7-B7F2-6D9571F3E921}"/>
          </ac:cxnSpMkLst>
        </pc:cxnChg>
      </pc:sldChg>
      <pc:sldChg chg="addSp modSp add">
        <pc:chgData name="Perez Diaz, Karen" userId="17027623-4de6-4c48-9453-394c2c5804f8" providerId="ADAL" clId="{29370469-C559-41E6-B5B3-74A9DA2D409B}" dt="2021-01-28T16:59:34.084" v="1761"/>
        <pc:sldMkLst>
          <pc:docMk/>
          <pc:sldMk cId="3266835802" sldId="750"/>
        </pc:sldMkLst>
        <pc:spChg chg="mod">
          <ac:chgData name="Perez Diaz, Karen" userId="17027623-4de6-4c48-9453-394c2c5804f8" providerId="ADAL" clId="{29370469-C559-41E6-B5B3-74A9DA2D409B}" dt="2021-01-28T16:58:40.510" v="1759" actId="1076"/>
          <ac:spMkLst>
            <pc:docMk/>
            <pc:sldMk cId="3266835802" sldId="750"/>
            <ac:spMk id="6" creationId="{46EE6365-81AD-4FCA-A5B9-4F4D0C586289}"/>
          </ac:spMkLst>
        </pc:spChg>
        <pc:spChg chg="mod">
          <ac:chgData name="Perez Diaz, Karen" userId="17027623-4de6-4c48-9453-394c2c5804f8" providerId="ADAL" clId="{29370469-C559-41E6-B5B3-74A9DA2D409B}" dt="2021-01-28T16:58:40.510" v="1759" actId="1076"/>
          <ac:spMkLst>
            <pc:docMk/>
            <pc:sldMk cId="3266835802" sldId="750"/>
            <ac:spMk id="7" creationId="{CBBEE985-DFA9-4335-84E8-9CC49B0EB534}"/>
          </ac:spMkLst>
        </pc:spChg>
        <pc:spChg chg="mod">
          <ac:chgData name="Perez Diaz, Karen" userId="17027623-4de6-4c48-9453-394c2c5804f8" providerId="ADAL" clId="{29370469-C559-41E6-B5B3-74A9DA2D409B}" dt="2021-01-28T16:58:40.510" v="1759" actId="1076"/>
          <ac:spMkLst>
            <pc:docMk/>
            <pc:sldMk cId="3266835802" sldId="750"/>
            <ac:spMk id="8" creationId="{0AEC7480-7499-442D-9B7F-9286FAFB0818}"/>
          </ac:spMkLst>
        </pc:spChg>
        <pc:spChg chg="mod">
          <ac:chgData name="Perez Diaz, Karen" userId="17027623-4de6-4c48-9453-394c2c5804f8" providerId="ADAL" clId="{29370469-C559-41E6-B5B3-74A9DA2D409B}" dt="2021-01-28T16:58:40.510" v="1759" actId="1076"/>
          <ac:spMkLst>
            <pc:docMk/>
            <pc:sldMk cId="3266835802" sldId="750"/>
            <ac:spMk id="9" creationId="{AD31964D-E5E9-49A2-B1C4-DFCAC54C0BAF}"/>
          </ac:spMkLst>
        </pc:spChg>
        <pc:spChg chg="mod">
          <ac:chgData name="Perez Diaz, Karen" userId="17027623-4de6-4c48-9453-394c2c5804f8" providerId="ADAL" clId="{29370469-C559-41E6-B5B3-74A9DA2D409B}" dt="2021-01-28T16:58:40.510" v="1759" actId="1076"/>
          <ac:spMkLst>
            <pc:docMk/>
            <pc:sldMk cId="3266835802" sldId="750"/>
            <ac:spMk id="10" creationId="{EE9C9ED5-ABCE-4FDB-86CF-FDFC75DD74BD}"/>
          </ac:spMkLst>
        </pc:spChg>
        <pc:spChg chg="mod">
          <ac:chgData name="Perez Diaz, Karen" userId="17027623-4de6-4c48-9453-394c2c5804f8" providerId="ADAL" clId="{29370469-C559-41E6-B5B3-74A9DA2D409B}" dt="2021-01-28T16:58:40.510" v="1759" actId="1076"/>
          <ac:spMkLst>
            <pc:docMk/>
            <pc:sldMk cId="3266835802" sldId="750"/>
            <ac:spMk id="12" creationId="{FE80D894-D049-4249-89C3-2CB429A7EF23}"/>
          </ac:spMkLst>
        </pc:spChg>
        <pc:spChg chg="mod">
          <ac:chgData name="Perez Diaz, Karen" userId="17027623-4de6-4c48-9453-394c2c5804f8" providerId="ADAL" clId="{29370469-C559-41E6-B5B3-74A9DA2D409B}" dt="2021-01-28T16:58:40.510" v="1759" actId="1076"/>
          <ac:spMkLst>
            <pc:docMk/>
            <pc:sldMk cId="3266835802" sldId="750"/>
            <ac:spMk id="14" creationId="{F6B3E33B-279A-4B57-A0C7-AFD4CB2BA78F}"/>
          </ac:spMkLst>
        </pc:spChg>
        <pc:spChg chg="mod">
          <ac:chgData name="Perez Diaz, Karen" userId="17027623-4de6-4c48-9453-394c2c5804f8" providerId="ADAL" clId="{29370469-C559-41E6-B5B3-74A9DA2D409B}" dt="2021-01-28T16:58:40.510" v="1759" actId="1076"/>
          <ac:spMkLst>
            <pc:docMk/>
            <pc:sldMk cId="3266835802" sldId="750"/>
            <ac:spMk id="36" creationId="{B1C07FB1-E4F7-46B0-9153-B6C0A2878CC2}"/>
          </ac:spMkLst>
        </pc:spChg>
        <pc:spChg chg="add">
          <ac:chgData name="Perez Diaz, Karen" userId="17027623-4de6-4c48-9453-394c2c5804f8" providerId="ADAL" clId="{29370469-C559-41E6-B5B3-74A9DA2D409B}" dt="2021-01-28T16:59:34.084" v="1761"/>
          <ac:spMkLst>
            <pc:docMk/>
            <pc:sldMk cId="3266835802" sldId="750"/>
            <ac:spMk id="68" creationId="{B4632804-C3C8-4E48-8A90-088E4D2F594E}"/>
          </ac:spMkLst>
        </pc:spChg>
        <pc:spChg chg="add">
          <ac:chgData name="Perez Diaz, Karen" userId="17027623-4de6-4c48-9453-394c2c5804f8" providerId="ADAL" clId="{29370469-C559-41E6-B5B3-74A9DA2D409B}" dt="2021-01-28T16:59:34.084" v="1761"/>
          <ac:spMkLst>
            <pc:docMk/>
            <pc:sldMk cId="3266835802" sldId="750"/>
            <ac:spMk id="70" creationId="{02049F8A-1705-45AA-AE7A-7A89660E629D}"/>
          </ac:spMkLst>
        </pc:spChg>
        <pc:spChg chg="add">
          <ac:chgData name="Perez Diaz, Karen" userId="17027623-4de6-4c48-9453-394c2c5804f8" providerId="ADAL" clId="{29370469-C559-41E6-B5B3-74A9DA2D409B}" dt="2021-01-28T16:59:34.084" v="1761"/>
          <ac:spMkLst>
            <pc:docMk/>
            <pc:sldMk cId="3266835802" sldId="750"/>
            <ac:spMk id="71" creationId="{F66EDE4A-AF54-497E-AA3A-ED75EB308B47}"/>
          </ac:spMkLst>
        </pc:spChg>
        <pc:spChg chg="add">
          <ac:chgData name="Perez Diaz, Karen" userId="17027623-4de6-4c48-9453-394c2c5804f8" providerId="ADAL" clId="{29370469-C559-41E6-B5B3-74A9DA2D409B}" dt="2021-01-28T16:59:34.084" v="1761"/>
          <ac:spMkLst>
            <pc:docMk/>
            <pc:sldMk cId="3266835802" sldId="750"/>
            <ac:spMk id="72" creationId="{755C4D52-BA4F-40BD-8453-CA0A98E07E6A}"/>
          </ac:spMkLst>
        </pc:spChg>
        <pc:spChg chg="add">
          <ac:chgData name="Perez Diaz, Karen" userId="17027623-4de6-4c48-9453-394c2c5804f8" providerId="ADAL" clId="{29370469-C559-41E6-B5B3-74A9DA2D409B}" dt="2021-01-28T16:59:34.084" v="1761"/>
          <ac:spMkLst>
            <pc:docMk/>
            <pc:sldMk cId="3266835802" sldId="750"/>
            <ac:spMk id="73" creationId="{6B58DCA2-0F91-47AB-B323-03712FEA0FE5}"/>
          </ac:spMkLst>
        </pc:spChg>
        <pc:spChg chg="add">
          <ac:chgData name="Perez Diaz, Karen" userId="17027623-4de6-4c48-9453-394c2c5804f8" providerId="ADAL" clId="{29370469-C559-41E6-B5B3-74A9DA2D409B}" dt="2021-01-28T16:59:34.084" v="1761"/>
          <ac:spMkLst>
            <pc:docMk/>
            <pc:sldMk cId="3266835802" sldId="750"/>
            <ac:spMk id="74" creationId="{3E352E4C-F871-4DE5-97D8-22EF4671E28B}"/>
          </ac:spMkLst>
        </pc:spChg>
        <pc:spChg chg="add">
          <ac:chgData name="Perez Diaz, Karen" userId="17027623-4de6-4c48-9453-394c2c5804f8" providerId="ADAL" clId="{29370469-C559-41E6-B5B3-74A9DA2D409B}" dt="2021-01-28T16:59:34.084" v="1761"/>
          <ac:spMkLst>
            <pc:docMk/>
            <pc:sldMk cId="3266835802" sldId="750"/>
            <ac:spMk id="75" creationId="{85D18E3F-6299-4B81-96FC-2205DA172E35}"/>
          </ac:spMkLst>
        </pc:spChg>
        <pc:spChg chg="add">
          <ac:chgData name="Perez Diaz, Karen" userId="17027623-4de6-4c48-9453-394c2c5804f8" providerId="ADAL" clId="{29370469-C559-41E6-B5B3-74A9DA2D409B}" dt="2021-01-28T16:59:34.084" v="1761"/>
          <ac:spMkLst>
            <pc:docMk/>
            <pc:sldMk cId="3266835802" sldId="750"/>
            <ac:spMk id="79" creationId="{901CAB42-4BF6-44D7-9F69-E15BFDC2F724}"/>
          </ac:spMkLst>
        </pc:spChg>
        <pc:spChg chg="add">
          <ac:chgData name="Perez Diaz, Karen" userId="17027623-4de6-4c48-9453-394c2c5804f8" providerId="ADAL" clId="{29370469-C559-41E6-B5B3-74A9DA2D409B}" dt="2021-01-28T16:59:34.084" v="1761"/>
          <ac:spMkLst>
            <pc:docMk/>
            <pc:sldMk cId="3266835802" sldId="750"/>
            <ac:spMk id="80" creationId="{7FACF2E3-C10B-4632-862E-62B8B19C98FC}"/>
          </ac:spMkLst>
        </pc:spChg>
        <pc:spChg chg="mod">
          <ac:chgData name="Perez Diaz, Karen" userId="17027623-4de6-4c48-9453-394c2c5804f8" providerId="ADAL" clId="{29370469-C559-41E6-B5B3-74A9DA2D409B}" dt="2021-01-28T16:58:49.175" v="1760" actId="1076"/>
          <ac:spMkLst>
            <pc:docMk/>
            <pc:sldMk cId="3266835802" sldId="750"/>
            <ac:spMk id="105" creationId="{BEC36B5A-7EB2-43A0-BD86-B837DED8DE95}"/>
          </ac:spMkLst>
        </pc:spChg>
        <pc:spChg chg="mod">
          <ac:chgData name="Perez Diaz, Karen" userId="17027623-4de6-4c48-9453-394c2c5804f8" providerId="ADAL" clId="{29370469-C559-41E6-B5B3-74A9DA2D409B}" dt="2021-01-28T16:58:49.175" v="1760" actId="1076"/>
          <ac:spMkLst>
            <pc:docMk/>
            <pc:sldMk cId="3266835802" sldId="750"/>
            <ac:spMk id="106" creationId="{6D6ECF35-C32B-4213-B8CE-3A997B9FF481}"/>
          </ac:spMkLst>
        </pc:spChg>
        <pc:spChg chg="mod">
          <ac:chgData name="Perez Diaz, Karen" userId="17027623-4de6-4c48-9453-394c2c5804f8" providerId="ADAL" clId="{29370469-C559-41E6-B5B3-74A9DA2D409B}" dt="2021-01-28T16:58:49.175" v="1760" actId="1076"/>
          <ac:spMkLst>
            <pc:docMk/>
            <pc:sldMk cId="3266835802" sldId="750"/>
            <ac:spMk id="107" creationId="{440FFB9C-94D4-4708-A9DC-34AAC6B046DA}"/>
          </ac:spMkLst>
        </pc:spChg>
        <pc:spChg chg="mod">
          <ac:chgData name="Perez Diaz, Karen" userId="17027623-4de6-4c48-9453-394c2c5804f8" providerId="ADAL" clId="{29370469-C559-41E6-B5B3-74A9DA2D409B}" dt="2021-01-28T16:58:49.175" v="1760" actId="1076"/>
          <ac:spMkLst>
            <pc:docMk/>
            <pc:sldMk cId="3266835802" sldId="750"/>
            <ac:spMk id="111" creationId="{A063BFA1-D944-4ED3-95B7-C1617A7EA0F9}"/>
          </ac:spMkLst>
        </pc:spChg>
        <pc:spChg chg="mod">
          <ac:chgData name="Perez Diaz, Karen" userId="17027623-4de6-4c48-9453-394c2c5804f8" providerId="ADAL" clId="{29370469-C559-41E6-B5B3-74A9DA2D409B}" dt="2021-01-28T16:58:49.175" v="1760" actId="1076"/>
          <ac:spMkLst>
            <pc:docMk/>
            <pc:sldMk cId="3266835802" sldId="750"/>
            <ac:spMk id="112" creationId="{ED2670D7-5235-4D4A-869B-5068651CDF74}"/>
          </ac:spMkLst>
        </pc:spChg>
        <pc:spChg chg="mod">
          <ac:chgData name="Perez Diaz, Karen" userId="17027623-4de6-4c48-9453-394c2c5804f8" providerId="ADAL" clId="{29370469-C559-41E6-B5B3-74A9DA2D409B}" dt="2021-01-28T16:58:49.175" v="1760" actId="1076"/>
          <ac:spMkLst>
            <pc:docMk/>
            <pc:sldMk cId="3266835802" sldId="750"/>
            <ac:spMk id="113" creationId="{CAED5ECA-DF73-4AAE-B74E-FC777DE1010E}"/>
          </ac:spMkLst>
        </pc:spChg>
        <pc:spChg chg="mod">
          <ac:chgData name="Perez Diaz, Karen" userId="17027623-4de6-4c48-9453-394c2c5804f8" providerId="ADAL" clId="{29370469-C559-41E6-B5B3-74A9DA2D409B}" dt="2021-01-28T16:58:49.175" v="1760" actId="1076"/>
          <ac:spMkLst>
            <pc:docMk/>
            <pc:sldMk cId="3266835802" sldId="750"/>
            <ac:spMk id="114" creationId="{E764AE2D-0FD2-4A7A-97D3-2191B1E4982F}"/>
          </ac:spMkLst>
        </pc:spChg>
        <pc:spChg chg="mod">
          <ac:chgData name="Perez Diaz, Karen" userId="17027623-4de6-4c48-9453-394c2c5804f8" providerId="ADAL" clId="{29370469-C559-41E6-B5B3-74A9DA2D409B}" dt="2021-01-28T16:58:49.175" v="1760" actId="1076"/>
          <ac:spMkLst>
            <pc:docMk/>
            <pc:sldMk cId="3266835802" sldId="750"/>
            <ac:spMk id="115" creationId="{735CAD3E-3CFB-4A7D-9DC0-8715BEBCB5C7}"/>
          </ac:spMkLst>
        </pc:spChg>
        <pc:grpChg chg="mod">
          <ac:chgData name="Perez Diaz, Karen" userId="17027623-4de6-4c48-9453-394c2c5804f8" providerId="ADAL" clId="{29370469-C559-41E6-B5B3-74A9DA2D409B}" dt="2021-01-28T16:58:49.175" v="1760" actId="1076"/>
          <ac:grpSpMkLst>
            <pc:docMk/>
            <pc:sldMk cId="3266835802" sldId="750"/>
            <ac:grpSpMk id="118" creationId="{6B36BE72-7F9C-4D83-8F46-F115176D5DEE}"/>
          </ac:grpSpMkLst>
        </pc:grpChg>
        <pc:grpChg chg="mod">
          <ac:chgData name="Perez Diaz, Karen" userId="17027623-4de6-4c48-9453-394c2c5804f8" providerId="ADAL" clId="{29370469-C559-41E6-B5B3-74A9DA2D409B}" dt="2021-01-28T16:58:40.510" v="1759" actId="1076"/>
          <ac:grpSpMkLst>
            <pc:docMk/>
            <pc:sldMk cId="3266835802" sldId="750"/>
            <ac:grpSpMk id="217" creationId="{9E5C4412-7EC4-487F-854E-0A306D3FA7D8}"/>
          </ac:grpSpMkLst>
        </pc:grpChg>
        <pc:cxnChg chg="mod">
          <ac:chgData name="Perez Diaz, Karen" userId="17027623-4de6-4c48-9453-394c2c5804f8" providerId="ADAL" clId="{29370469-C559-41E6-B5B3-74A9DA2D409B}" dt="2021-01-28T16:58:40.510" v="1759" actId="1076"/>
          <ac:cxnSpMkLst>
            <pc:docMk/>
            <pc:sldMk cId="3266835802" sldId="750"/>
            <ac:cxnSpMk id="20" creationId="{348D7C3F-B83C-43A8-9D28-CCC9C4BBB069}"/>
          </ac:cxnSpMkLst>
        </pc:cxnChg>
        <pc:cxnChg chg="mod">
          <ac:chgData name="Perez Diaz, Karen" userId="17027623-4de6-4c48-9453-394c2c5804f8" providerId="ADAL" clId="{29370469-C559-41E6-B5B3-74A9DA2D409B}" dt="2021-01-28T16:58:40.510" v="1759" actId="1076"/>
          <ac:cxnSpMkLst>
            <pc:docMk/>
            <pc:sldMk cId="3266835802" sldId="750"/>
            <ac:cxnSpMk id="25" creationId="{0FD92F1F-404B-4B75-922F-DC7CBDD99712}"/>
          </ac:cxnSpMkLst>
        </pc:cxnChg>
        <pc:cxnChg chg="mod">
          <ac:chgData name="Perez Diaz, Karen" userId="17027623-4de6-4c48-9453-394c2c5804f8" providerId="ADAL" clId="{29370469-C559-41E6-B5B3-74A9DA2D409B}" dt="2021-01-28T16:58:40.510" v="1759" actId="1076"/>
          <ac:cxnSpMkLst>
            <pc:docMk/>
            <pc:sldMk cId="3266835802" sldId="750"/>
            <ac:cxnSpMk id="27" creationId="{241AE13A-CC4B-4DEF-B58D-790536D65968}"/>
          </ac:cxnSpMkLst>
        </pc:cxnChg>
        <pc:cxnChg chg="mod">
          <ac:chgData name="Perez Diaz, Karen" userId="17027623-4de6-4c48-9453-394c2c5804f8" providerId="ADAL" clId="{29370469-C559-41E6-B5B3-74A9DA2D409B}" dt="2021-01-28T16:58:40.510" v="1759" actId="1076"/>
          <ac:cxnSpMkLst>
            <pc:docMk/>
            <pc:sldMk cId="3266835802" sldId="750"/>
            <ac:cxnSpMk id="31" creationId="{8FEF314A-9932-4F10-8E0C-6B6DF5F71CD9}"/>
          </ac:cxnSpMkLst>
        </pc:cxnChg>
        <pc:cxnChg chg="mod">
          <ac:chgData name="Perez Diaz, Karen" userId="17027623-4de6-4c48-9453-394c2c5804f8" providerId="ADAL" clId="{29370469-C559-41E6-B5B3-74A9DA2D409B}" dt="2021-01-28T16:58:40.510" v="1759" actId="1076"/>
          <ac:cxnSpMkLst>
            <pc:docMk/>
            <pc:sldMk cId="3266835802" sldId="750"/>
            <ac:cxnSpMk id="65" creationId="{9F79DEE4-32EB-4954-BB88-47EAFD90F0F2}"/>
          </ac:cxnSpMkLst>
        </pc:cxnChg>
        <pc:cxnChg chg="add">
          <ac:chgData name="Perez Diaz, Karen" userId="17027623-4de6-4c48-9453-394c2c5804f8" providerId="ADAL" clId="{29370469-C559-41E6-B5B3-74A9DA2D409B}" dt="2021-01-28T16:59:34.084" v="1761"/>
          <ac:cxnSpMkLst>
            <pc:docMk/>
            <pc:sldMk cId="3266835802" sldId="750"/>
            <ac:cxnSpMk id="76" creationId="{B6D77D4A-9E33-4036-BB44-F68859F0A25C}"/>
          </ac:cxnSpMkLst>
        </pc:cxnChg>
        <pc:cxnChg chg="add">
          <ac:chgData name="Perez Diaz, Karen" userId="17027623-4de6-4c48-9453-394c2c5804f8" providerId="ADAL" clId="{29370469-C559-41E6-B5B3-74A9DA2D409B}" dt="2021-01-28T16:59:34.084" v="1761"/>
          <ac:cxnSpMkLst>
            <pc:docMk/>
            <pc:sldMk cId="3266835802" sldId="750"/>
            <ac:cxnSpMk id="77" creationId="{44F862E5-9928-4DF4-A81A-EA0D3843B407}"/>
          </ac:cxnSpMkLst>
        </pc:cxnChg>
        <pc:cxnChg chg="add">
          <ac:chgData name="Perez Diaz, Karen" userId="17027623-4de6-4c48-9453-394c2c5804f8" providerId="ADAL" clId="{29370469-C559-41E6-B5B3-74A9DA2D409B}" dt="2021-01-28T16:59:34.084" v="1761"/>
          <ac:cxnSpMkLst>
            <pc:docMk/>
            <pc:sldMk cId="3266835802" sldId="750"/>
            <ac:cxnSpMk id="78" creationId="{FF466E25-414D-464D-A039-C096DB22B011}"/>
          </ac:cxnSpMkLst>
        </pc:cxnChg>
        <pc:cxnChg chg="add">
          <ac:chgData name="Perez Diaz, Karen" userId="17027623-4de6-4c48-9453-394c2c5804f8" providerId="ADAL" clId="{29370469-C559-41E6-B5B3-74A9DA2D409B}" dt="2021-01-28T16:59:34.084" v="1761"/>
          <ac:cxnSpMkLst>
            <pc:docMk/>
            <pc:sldMk cId="3266835802" sldId="750"/>
            <ac:cxnSpMk id="81" creationId="{135C0A01-24D9-4D02-A5E0-2234216B23E2}"/>
          </ac:cxnSpMkLst>
        </pc:cxnChg>
        <pc:cxnChg chg="add">
          <ac:chgData name="Perez Diaz, Karen" userId="17027623-4de6-4c48-9453-394c2c5804f8" providerId="ADAL" clId="{29370469-C559-41E6-B5B3-74A9DA2D409B}" dt="2021-01-28T16:59:34.084" v="1761"/>
          <ac:cxnSpMkLst>
            <pc:docMk/>
            <pc:sldMk cId="3266835802" sldId="750"/>
            <ac:cxnSpMk id="82" creationId="{06644D4B-6761-41DC-BEFE-17EAECE088E5}"/>
          </ac:cxnSpMkLst>
        </pc:cxnChg>
        <pc:cxnChg chg="mod">
          <ac:chgData name="Perez Diaz, Karen" userId="17027623-4de6-4c48-9453-394c2c5804f8" providerId="ADAL" clId="{29370469-C559-41E6-B5B3-74A9DA2D409B}" dt="2021-01-28T16:58:49.175" v="1760" actId="1076"/>
          <ac:cxnSpMkLst>
            <pc:docMk/>
            <pc:sldMk cId="3266835802" sldId="750"/>
            <ac:cxnSpMk id="108" creationId="{4B2ADA09-0B27-4A10-8143-73FC014C2D4D}"/>
          </ac:cxnSpMkLst>
        </pc:cxnChg>
        <pc:cxnChg chg="mod">
          <ac:chgData name="Perez Diaz, Karen" userId="17027623-4de6-4c48-9453-394c2c5804f8" providerId="ADAL" clId="{29370469-C559-41E6-B5B3-74A9DA2D409B}" dt="2021-01-28T16:58:49.175" v="1760" actId="1076"/>
          <ac:cxnSpMkLst>
            <pc:docMk/>
            <pc:sldMk cId="3266835802" sldId="750"/>
            <ac:cxnSpMk id="109" creationId="{7BCF6360-AB3F-429E-B268-C804BE60EE19}"/>
          </ac:cxnSpMkLst>
        </pc:cxnChg>
        <pc:cxnChg chg="mod">
          <ac:chgData name="Perez Diaz, Karen" userId="17027623-4de6-4c48-9453-394c2c5804f8" providerId="ADAL" clId="{29370469-C559-41E6-B5B3-74A9DA2D409B}" dt="2021-01-28T16:58:49.175" v="1760" actId="1076"/>
          <ac:cxnSpMkLst>
            <pc:docMk/>
            <pc:sldMk cId="3266835802" sldId="750"/>
            <ac:cxnSpMk id="110" creationId="{D42AA51F-4DA3-4364-AA2A-F7FD698C624E}"/>
          </ac:cxnSpMkLst>
        </pc:cxnChg>
        <pc:cxnChg chg="mod">
          <ac:chgData name="Perez Diaz, Karen" userId="17027623-4de6-4c48-9453-394c2c5804f8" providerId="ADAL" clId="{29370469-C559-41E6-B5B3-74A9DA2D409B}" dt="2021-01-28T16:58:49.175" v="1760" actId="1076"/>
          <ac:cxnSpMkLst>
            <pc:docMk/>
            <pc:sldMk cId="3266835802" sldId="750"/>
            <ac:cxnSpMk id="116" creationId="{52CF43AC-B38B-4911-B10C-6B5824EEC3AC}"/>
          </ac:cxnSpMkLst>
        </pc:cxnChg>
        <pc:cxnChg chg="mod">
          <ac:chgData name="Perez Diaz, Karen" userId="17027623-4de6-4c48-9453-394c2c5804f8" providerId="ADAL" clId="{29370469-C559-41E6-B5B3-74A9DA2D409B}" dt="2021-01-28T16:58:49.175" v="1760" actId="1076"/>
          <ac:cxnSpMkLst>
            <pc:docMk/>
            <pc:sldMk cId="3266835802" sldId="750"/>
            <ac:cxnSpMk id="117" creationId="{2C2FB829-5D35-4F54-B2F6-CDFE327A848C}"/>
          </ac:cxnSpMkLst>
        </pc:cxnChg>
      </pc:sldChg>
    </pc:docChg>
  </pc:docChgLst>
  <pc:docChgLst>
    <pc:chgData name="Perez Diaz, Karen" userId="17027623-4de6-4c48-9453-394c2c5804f8" providerId="ADAL" clId="{8F2BC0AC-B0BF-49C6-A4FB-8A1A97211134}"/>
    <pc:docChg chg="undo custSel addSld modSld">
      <pc:chgData name="Perez Diaz, Karen" userId="17027623-4de6-4c48-9453-394c2c5804f8" providerId="ADAL" clId="{8F2BC0AC-B0BF-49C6-A4FB-8A1A97211134}" dt="2021-04-13T20:11:25.805" v="482" actId="20577"/>
      <pc:docMkLst>
        <pc:docMk/>
      </pc:docMkLst>
      <pc:sldChg chg="modSp mod">
        <pc:chgData name="Perez Diaz, Karen" userId="17027623-4de6-4c48-9453-394c2c5804f8" providerId="ADAL" clId="{8F2BC0AC-B0BF-49C6-A4FB-8A1A97211134}" dt="2021-04-13T19:08:03.734" v="4" actId="20577"/>
        <pc:sldMkLst>
          <pc:docMk/>
          <pc:sldMk cId="3197154609" sldId="736"/>
        </pc:sldMkLst>
        <pc:spChg chg="mod">
          <ac:chgData name="Perez Diaz, Karen" userId="17027623-4de6-4c48-9453-394c2c5804f8" providerId="ADAL" clId="{8F2BC0AC-B0BF-49C6-A4FB-8A1A97211134}" dt="2021-04-13T19:08:03.734" v="4" actId="20577"/>
          <ac:spMkLst>
            <pc:docMk/>
            <pc:sldMk cId="3197154609" sldId="736"/>
            <ac:spMk id="3" creationId="{AF0DA26D-3B67-40C8-9676-A9B16F9FFEA9}"/>
          </ac:spMkLst>
        </pc:spChg>
      </pc:sldChg>
      <pc:sldChg chg="modSp mod">
        <pc:chgData name="Perez Diaz, Karen" userId="17027623-4de6-4c48-9453-394c2c5804f8" providerId="ADAL" clId="{8F2BC0AC-B0BF-49C6-A4FB-8A1A97211134}" dt="2021-04-13T20:11:25.805" v="482" actId="20577"/>
        <pc:sldMkLst>
          <pc:docMk/>
          <pc:sldMk cId="3216517808" sldId="738"/>
        </pc:sldMkLst>
        <pc:spChg chg="mod">
          <ac:chgData name="Perez Diaz, Karen" userId="17027623-4de6-4c48-9453-394c2c5804f8" providerId="ADAL" clId="{8F2BC0AC-B0BF-49C6-A4FB-8A1A97211134}" dt="2021-04-13T20:11:25.805" v="482" actId="20577"/>
          <ac:spMkLst>
            <pc:docMk/>
            <pc:sldMk cId="3216517808" sldId="738"/>
            <ac:spMk id="17" creationId="{05745967-7367-4DAD-B714-7E64C7F7BAA4}"/>
          </ac:spMkLst>
        </pc:spChg>
      </pc:sldChg>
      <pc:sldChg chg="modSp mod">
        <pc:chgData name="Perez Diaz, Karen" userId="17027623-4de6-4c48-9453-394c2c5804f8" providerId="ADAL" clId="{8F2BC0AC-B0BF-49C6-A4FB-8A1A97211134}" dt="2021-04-13T19:40:02.106" v="227" actId="255"/>
        <pc:sldMkLst>
          <pc:docMk/>
          <pc:sldMk cId="4110761666" sldId="753"/>
        </pc:sldMkLst>
        <pc:graphicFrameChg chg="mod modGraphic">
          <ac:chgData name="Perez Diaz, Karen" userId="17027623-4de6-4c48-9453-394c2c5804f8" providerId="ADAL" clId="{8F2BC0AC-B0BF-49C6-A4FB-8A1A97211134}" dt="2021-04-13T19:40:02.106" v="227" actId="255"/>
          <ac:graphicFrameMkLst>
            <pc:docMk/>
            <pc:sldMk cId="4110761666" sldId="753"/>
            <ac:graphicFrameMk id="5" creationId="{70F9371E-F78A-4060-92E1-259C0C348C60}"/>
          </ac:graphicFrameMkLst>
        </pc:graphicFrameChg>
      </pc:sldChg>
      <pc:sldChg chg="modSp mod">
        <pc:chgData name="Perez Diaz, Karen" userId="17027623-4de6-4c48-9453-394c2c5804f8" providerId="ADAL" clId="{8F2BC0AC-B0BF-49C6-A4FB-8A1A97211134}" dt="2021-04-13T20:05:38.031" v="337" actId="20577"/>
        <pc:sldMkLst>
          <pc:docMk/>
          <pc:sldMk cId="313541378" sldId="754"/>
        </pc:sldMkLst>
        <pc:spChg chg="mod">
          <ac:chgData name="Perez Diaz, Karen" userId="17027623-4de6-4c48-9453-394c2c5804f8" providerId="ADAL" clId="{8F2BC0AC-B0BF-49C6-A4FB-8A1A97211134}" dt="2021-04-13T20:05:38.031" v="337" actId="20577"/>
          <ac:spMkLst>
            <pc:docMk/>
            <pc:sldMk cId="313541378" sldId="754"/>
            <ac:spMk id="4" creationId="{3391FEEF-F27B-41D9-B582-F93BB491DB23}"/>
          </ac:spMkLst>
        </pc:spChg>
      </pc:sldChg>
      <pc:sldChg chg="modSp mod">
        <pc:chgData name="Perez Diaz, Karen" userId="17027623-4de6-4c48-9453-394c2c5804f8" providerId="ADAL" clId="{8F2BC0AC-B0BF-49C6-A4FB-8A1A97211134}" dt="2021-04-13T20:05:46.276" v="339" actId="14100"/>
        <pc:sldMkLst>
          <pc:docMk/>
          <pc:sldMk cId="3220359219" sldId="758"/>
        </pc:sldMkLst>
        <pc:spChg chg="mod">
          <ac:chgData name="Perez Diaz, Karen" userId="17027623-4de6-4c48-9453-394c2c5804f8" providerId="ADAL" clId="{8F2BC0AC-B0BF-49C6-A4FB-8A1A97211134}" dt="2021-04-13T20:05:46.276" v="339" actId="14100"/>
          <ac:spMkLst>
            <pc:docMk/>
            <pc:sldMk cId="3220359219" sldId="758"/>
            <ac:spMk id="4" creationId="{3391FEEF-F27B-41D9-B582-F93BB491DB23}"/>
          </ac:spMkLst>
        </pc:spChg>
      </pc:sldChg>
      <pc:sldChg chg="addSp delSp modSp add mod">
        <pc:chgData name="Perez Diaz, Karen" userId="17027623-4de6-4c48-9453-394c2c5804f8" providerId="ADAL" clId="{8F2BC0AC-B0BF-49C6-A4FB-8A1A97211134}" dt="2021-04-13T20:04:10.041" v="304" actId="14100"/>
        <pc:sldMkLst>
          <pc:docMk/>
          <pc:sldMk cId="1958526643" sldId="760"/>
        </pc:sldMkLst>
        <pc:spChg chg="mod">
          <ac:chgData name="Perez Diaz, Karen" userId="17027623-4de6-4c48-9453-394c2c5804f8" providerId="ADAL" clId="{8F2BC0AC-B0BF-49C6-A4FB-8A1A97211134}" dt="2021-04-13T19:31:19.245" v="147" actId="1076"/>
          <ac:spMkLst>
            <pc:docMk/>
            <pc:sldMk cId="1958526643" sldId="760"/>
            <ac:spMk id="2" creationId="{04385547-98E8-45E5-B7CD-FF0E4583064A}"/>
          </ac:spMkLst>
        </pc:spChg>
        <pc:graphicFrameChg chg="add del mod modGraphic">
          <ac:chgData name="Perez Diaz, Karen" userId="17027623-4de6-4c48-9453-394c2c5804f8" providerId="ADAL" clId="{8F2BC0AC-B0BF-49C6-A4FB-8A1A97211134}" dt="2021-04-13T19:31:46.293" v="150" actId="478"/>
          <ac:graphicFrameMkLst>
            <pc:docMk/>
            <pc:sldMk cId="1958526643" sldId="760"/>
            <ac:graphicFrameMk id="3" creationId="{EB691098-F978-4945-A06C-59EACED71F8E}"/>
          </ac:graphicFrameMkLst>
        </pc:graphicFrameChg>
        <pc:graphicFrameChg chg="del">
          <ac:chgData name="Perez Diaz, Karen" userId="17027623-4de6-4c48-9453-394c2c5804f8" providerId="ADAL" clId="{8F2BC0AC-B0BF-49C6-A4FB-8A1A97211134}" dt="2021-04-13T19:31:02.327" v="142" actId="478"/>
          <ac:graphicFrameMkLst>
            <pc:docMk/>
            <pc:sldMk cId="1958526643" sldId="760"/>
            <ac:graphicFrameMk id="4" creationId="{EFE116FC-4BF9-4DAF-B1E7-29701B258F6F}"/>
          </ac:graphicFrameMkLst>
        </pc:graphicFrameChg>
        <pc:graphicFrameChg chg="add del mod modGraphic">
          <ac:chgData name="Perez Diaz, Karen" userId="17027623-4de6-4c48-9453-394c2c5804f8" providerId="ADAL" clId="{8F2BC0AC-B0BF-49C6-A4FB-8A1A97211134}" dt="2021-04-13T19:33:29.484" v="160" actId="478"/>
          <ac:graphicFrameMkLst>
            <pc:docMk/>
            <pc:sldMk cId="1958526643" sldId="760"/>
            <ac:graphicFrameMk id="5" creationId="{996DBB51-4363-4275-898E-5428B5A00610}"/>
          </ac:graphicFrameMkLst>
        </pc:graphicFrameChg>
        <pc:graphicFrameChg chg="add del mod modGraphic">
          <ac:chgData name="Perez Diaz, Karen" userId="17027623-4de6-4c48-9453-394c2c5804f8" providerId="ADAL" clId="{8F2BC0AC-B0BF-49C6-A4FB-8A1A97211134}" dt="2021-04-13T19:34:18.468" v="165" actId="478"/>
          <ac:graphicFrameMkLst>
            <pc:docMk/>
            <pc:sldMk cId="1958526643" sldId="760"/>
            <ac:graphicFrameMk id="6" creationId="{39FDEC1A-52FE-498B-8A26-B692027209C5}"/>
          </ac:graphicFrameMkLst>
        </pc:graphicFrameChg>
        <pc:graphicFrameChg chg="add del mod modGraphic">
          <ac:chgData name="Perez Diaz, Karen" userId="17027623-4de6-4c48-9453-394c2c5804f8" providerId="ADAL" clId="{8F2BC0AC-B0BF-49C6-A4FB-8A1A97211134}" dt="2021-04-13T19:43:35.029" v="229" actId="478"/>
          <ac:graphicFrameMkLst>
            <pc:docMk/>
            <pc:sldMk cId="1958526643" sldId="760"/>
            <ac:graphicFrameMk id="7" creationId="{63534508-8F32-4A24-BBAB-A77860B8FA93}"/>
          </ac:graphicFrameMkLst>
        </pc:graphicFrameChg>
        <pc:graphicFrameChg chg="add mod modGraphic">
          <ac:chgData name="Perez Diaz, Karen" userId="17027623-4de6-4c48-9453-394c2c5804f8" providerId="ADAL" clId="{8F2BC0AC-B0BF-49C6-A4FB-8A1A97211134}" dt="2021-04-13T20:04:10.041" v="304" actId="14100"/>
          <ac:graphicFrameMkLst>
            <pc:docMk/>
            <pc:sldMk cId="1958526643" sldId="760"/>
            <ac:graphicFrameMk id="8" creationId="{39A5128B-C2FB-4E8F-8E52-44EEC29EECDD}"/>
          </ac:graphicFrameMkLst>
        </pc:graphicFrameChg>
      </pc:sldChg>
      <pc:sldChg chg="addSp delSp modSp add mod">
        <pc:chgData name="Perez Diaz, Karen" userId="17027623-4de6-4c48-9453-394c2c5804f8" providerId="ADAL" clId="{8F2BC0AC-B0BF-49C6-A4FB-8A1A97211134}" dt="2021-04-13T20:06:02.423" v="354" actId="20577"/>
        <pc:sldMkLst>
          <pc:docMk/>
          <pc:sldMk cId="2427708320" sldId="761"/>
        </pc:sldMkLst>
        <pc:spChg chg="mod">
          <ac:chgData name="Perez Diaz, Karen" userId="17027623-4de6-4c48-9453-394c2c5804f8" providerId="ADAL" clId="{8F2BC0AC-B0BF-49C6-A4FB-8A1A97211134}" dt="2021-04-13T19:08:36.515" v="9" actId="20577"/>
          <ac:spMkLst>
            <pc:docMk/>
            <pc:sldMk cId="2427708320" sldId="761"/>
            <ac:spMk id="2" creationId="{AECEAB9A-4052-4EF4-B24B-BD317033D159}"/>
          </ac:spMkLst>
        </pc:spChg>
        <pc:spChg chg="mod">
          <ac:chgData name="Perez Diaz, Karen" userId="17027623-4de6-4c48-9453-394c2c5804f8" providerId="ADAL" clId="{8F2BC0AC-B0BF-49C6-A4FB-8A1A97211134}" dt="2021-04-13T19:10:05.065" v="38" actId="20577"/>
          <ac:spMkLst>
            <pc:docMk/>
            <pc:sldMk cId="2427708320" sldId="761"/>
            <ac:spMk id="3" creationId="{A2A7ACBE-BDCD-4F26-956E-BBAF98176ED7}"/>
          </ac:spMkLst>
        </pc:spChg>
        <pc:spChg chg="mod">
          <ac:chgData name="Perez Diaz, Karen" userId="17027623-4de6-4c48-9453-394c2c5804f8" providerId="ADAL" clId="{8F2BC0AC-B0BF-49C6-A4FB-8A1A97211134}" dt="2021-04-13T20:06:02.423" v="354" actId="20577"/>
          <ac:spMkLst>
            <pc:docMk/>
            <pc:sldMk cId="2427708320" sldId="761"/>
            <ac:spMk id="4" creationId="{3391FEEF-F27B-41D9-B582-F93BB491DB23}"/>
          </ac:spMkLst>
        </pc:spChg>
        <pc:graphicFrameChg chg="del">
          <ac:chgData name="Perez Diaz, Karen" userId="17027623-4de6-4c48-9453-394c2c5804f8" providerId="ADAL" clId="{8F2BC0AC-B0BF-49C6-A4FB-8A1A97211134}" dt="2021-04-13T20:00:25.601" v="283" actId="478"/>
          <ac:graphicFrameMkLst>
            <pc:docMk/>
            <pc:sldMk cId="2427708320" sldId="761"/>
            <ac:graphicFrameMk id="5" creationId="{CFFC21C1-D8DC-44A8-8916-D41D38B0EE0C}"/>
          </ac:graphicFrameMkLst>
        </pc:graphicFrameChg>
        <pc:graphicFrameChg chg="add mod modGraphic">
          <ac:chgData name="Perez Diaz, Karen" userId="17027623-4de6-4c48-9453-394c2c5804f8" providerId="ADAL" clId="{8F2BC0AC-B0BF-49C6-A4FB-8A1A97211134}" dt="2021-04-13T20:02:09.297" v="294" actId="207"/>
          <ac:graphicFrameMkLst>
            <pc:docMk/>
            <pc:sldMk cId="2427708320" sldId="761"/>
            <ac:graphicFrameMk id="6" creationId="{41CAD8A0-253E-4F00-8BCF-B2E019DCD39F}"/>
          </ac:graphicFrameMkLst>
        </pc:graphicFrameChg>
      </pc:sldChg>
    </pc:docChg>
  </pc:docChgLst>
  <pc:docChgLst>
    <pc:chgData name="Perez Diaz, Karen" userId="17027623-4de6-4c48-9453-394c2c5804f8" providerId="ADAL" clId="{5F082997-C782-4E43-BDE8-F9D75DDCF7D1}"/>
    <pc:docChg chg="addSld modSld">
      <pc:chgData name="Perez Diaz, Karen" userId="17027623-4de6-4c48-9453-394c2c5804f8" providerId="ADAL" clId="{5F082997-C782-4E43-BDE8-F9D75DDCF7D1}" dt="2020-12-15T22:14:46.268" v="1"/>
      <pc:docMkLst>
        <pc:docMk/>
      </pc:docMkLst>
      <pc:sldChg chg="add">
        <pc:chgData name="Perez Diaz, Karen" userId="17027623-4de6-4c48-9453-394c2c5804f8" providerId="ADAL" clId="{5F082997-C782-4E43-BDE8-F9D75DDCF7D1}" dt="2020-12-15T22:14:41.279" v="0"/>
        <pc:sldMkLst>
          <pc:docMk/>
          <pc:sldMk cId="881379272" sldId="742"/>
        </pc:sldMkLst>
      </pc:sldChg>
      <pc:sldChg chg="add">
        <pc:chgData name="Perez Diaz, Karen" userId="17027623-4de6-4c48-9453-394c2c5804f8" providerId="ADAL" clId="{5F082997-C782-4E43-BDE8-F9D75DDCF7D1}" dt="2020-12-15T22:14:46.268" v="1"/>
        <pc:sldMkLst>
          <pc:docMk/>
          <pc:sldMk cId="3913551135" sldId="743"/>
        </pc:sldMkLst>
      </pc:sldChg>
    </pc:docChg>
  </pc:docChgLst>
  <pc:docChgLst>
    <pc:chgData name="Perez Diaz, Karen" userId="17027623-4de6-4c48-9453-394c2c5804f8" providerId="ADAL" clId="{0DCB131B-3EFE-42DC-9206-7151797C1B48}"/>
    <pc:docChg chg="undo custSel addSld delSld modSld sldOrd">
      <pc:chgData name="Perez Diaz, Karen" userId="17027623-4de6-4c48-9453-394c2c5804f8" providerId="ADAL" clId="{0DCB131B-3EFE-42DC-9206-7151797C1B48}" dt="2021-01-07T19:14:51.188" v="2362" actId="6549"/>
      <pc:docMkLst>
        <pc:docMk/>
      </pc:docMkLst>
      <pc:sldChg chg="del">
        <pc:chgData name="Perez Diaz, Karen" userId="17027623-4de6-4c48-9453-394c2c5804f8" providerId="ADAL" clId="{0DCB131B-3EFE-42DC-9206-7151797C1B48}" dt="2021-01-06T21:48:35.824" v="2288" actId="2696"/>
        <pc:sldMkLst>
          <pc:docMk/>
          <pc:sldMk cId="3585510629" sldId="257"/>
        </pc:sldMkLst>
      </pc:sldChg>
      <pc:sldChg chg="del">
        <pc:chgData name="Perez Diaz, Karen" userId="17027623-4de6-4c48-9453-394c2c5804f8" providerId="ADAL" clId="{0DCB131B-3EFE-42DC-9206-7151797C1B48}" dt="2021-01-06T21:48:33.188" v="2287" actId="2696"/>
        <pc:sldMkLst>
          <pc:docMk/>
          <pc:sldMk cId="3660307796" sldId="258"/>
        </pc:sldMkLst>
      </pc:sldChg>
      <pc:sldChg chg="delSp">
        <pc:chgData name="Perez Diaz, Karen" userId="17027623-4de6-4c48-9453-394c2c5804f8" providerId="ADAL" clId="{0DCB131B-3EFE-42DC-9206-7151797C1B48}" dt="2021-01-06T21:48:40.067" v="2289" actId="478"/>
        <pc:sldMkLst>
          <pc:docMk/>
          <pc:sldMk cId="3887687176" sldId="260"/>
        </pc:sldMkLst>
        <pc:spChg chg="del">
          <ac:chgData name="Perez Diaz, Karen" userId="17027623-4de6-4c48-9453-394c2c5804f8" providerId="ADAL" clId="{0DCB131B-3EFE-42DC-9206-7151797C1B48}" dt="2021-01-06T21:48:40.067" v="2289" actId="478"/>
          <ac:spMkLst>
            <pc:docMk/>
            <pc:sldMk cId="3887687176" sldId="260"/>
            <ac:spMk id="5" creationId="{00000000-0000-0000-0000-000000000000}"/>
          </ac:spMkLst>
        </pc:spChg>
      </pc:sldChg>
      <pc:sldChg chg="del">
        <pc:chgData name="Perez Diaz, Karen" userId="17027623-4de6-4c48-9453-394c2c5804f8" providerId="ADAL" clId="{0DCB131B-3EFE-42DC-9206-7151797C1B48}" dt="2021-01-06T21:52:29.356" v="2301" actId="2696"/>
        <pc:sldMkLst>
          <pc:docMk/>
          <pc:sldMk cId="4198846102" sldId="261"/>
        </pc:sldMkLst>
      </pc:sldChg>
      <pc:sldChg chg="del">
        <pc:chgData name="Perez Diaz, Karen" userId="17027623-4de6-4c48-9453-394c2c5804f8" providerId="ADAL" clId="{0DCB131B-3EFE-42DC-9206-7151797C1B48}" dt="2021-01-06T21:52:29.418" v="2302" actId="2696"/>
        <pc:sldMkLst>
          <pc:docMk/>
          <pc:sldMk cId="62781358" sldId="263"/>
        </pc:sldMkLst>
      </pc:sldChg>
      <pc:sldChg chg="del">
        <pc:chgData name="Perez Diaz, Karen" userId="17027623-4de6-4c48-9453-394c2c5804f8" providerId="ADAL" clId="{0DCB131B-3EFE-42DC-9206-7151797C1B48}" dt="2021-01-06T21:52:29.475" v="2303" actId="2696"/>
        <pc:sldMkLst>
          <pc:docMk/>
          <pc:sldMk cId="1702889176" sldId="265"/>
        </pc:sldMkLst>
      </pc:sldChg>
      <pc:sldChg chg="del">
        <pc:chgData name="Perez Diaz, Karen" userId="17027623-4de6-4c48-9453-394c2c5804f8" providerId="ADAL" clId="{0DCB131B-3EFE-42DC-9206-7151797C1B48}" dt="2021-01-06T21:52:29.531" v="2304" actId="2696"/>
        <pc:sldMkLst>
          <pc:docMk/>
          <pc:sldMk cId="2153042051" sldId="266"/>
        </pc:sldMkLst>
      </pc:sldChg>
      <pc:sldChg chg="del">
        <pc:chgData name="Perez Diaz, Karen" userId="17027623-4de6-4c48-9453-394c2c5804f8" providerId="ADAL" clId="{0DCB131B-3EFE-42DC-9206-7151797C1B48}" dt="2021-01-06T21:52:29.593" v="2305" actId="2696"/>
        <pc:sldMkLst>
          <pc:docMk/>
          <pc:sldMk cId="4179492691" sldId="267"/>
        </pc:sldMkLst>
      </pc:sldChg>
      <pc:sldChg chg="del">
        <pc:chgData name="Perez Diaz, Karen" userId="17027623-4de6-4c48-9453-394c2c5804f8" providerId="ADAL" clId="{0DCB131B-3EFE-42DC-9206-7151797C1B48}" dt="2021-01-06T21:52:29.715" v="2307" actId="2696"/>
        <pc:sldMkLst>
          <pc:docMk/>
          <pc:sldMk cId="1002265503" sldId="268"/>
        </pc:sldMkLst>
      </pc:sldChg>
      <pc:sldChg chg="del">
        <pc:chgData name="Perez Diaz, Karen" userId="17027623-4de6-4c48-9453-394c2c5804f8" providerId="ADAL" clId="{0DCB131B-3EFE-42DC-9206-7151797C1B48}" dt="2021-01-06T21:52:29.639" v="2306" actId="2696"/>
        <pc:sldMkLst>
          <pc:docMk/>
          <pc:sldMk cId="3467534185" sldId="269"/>
        </pc:sldMkLst>
      </pc:sldChg>
      <pc:sldChg chg="del">
        <pc:chgData name="Perez Diaz, Karen" userId="17027623-4de6-4c48-9453-394c2c5804f8" providerId="ADAL" clId="{0DCB131B-3EFE-42DC-9206-7151797C1B48}" dt="2021-01-06T21:52:30.152" v="2313" actId="2696"/>
        <pc:sldMkLst>
          <pc:docMk/>
          <pc:sldMk cId="212084242" sldId="272"/>
        </pc:sldMkLst>
      </pc:sldChg>
      <pc:sldChg chg="del">
        <pc:chgData name="Perez Diaz, Karen" userId="17027623-4de6-4c48-9453-394c2c5804f8" providerId="ADAL" clId="{0DCB131B-3EFE-42DC-9206-7151797C1B48}" dt="2021-01-06T21:52:30.214" v="2314" actId="2696"/>
        <pc:sldMkLst>
          <pc:docMk/>
          <pc:sldMk cId="692086069" sldId="273"/>
        </pc:sldMkLst>
      </pc:sldChg>
      <pc:sldChg chg="del">
        <pc:chgData name="Perez Diaz, Karen" userId="17027623-4de6-4c48-9453-394c2c5804f8" providerId="ADAL" clId="{0DCB131B-3EFE-42DC-9206-7151797C1B48}" dt="2021-01-06T21:52:30.281" v="2315" actId="2696"/>
        <pc:sldMkLst>
          <pc:docMk/>
          <pc:sldMk cId="284355314" sldId="274"/>
        </pc:sldMkLst>
      </pc:sldChg>
      <pc:sldChg chg="del">
        <pc:chgData name="Perez Diaz, Karen" userId="17027623-4de6-4c48-9453-394c2c5804f8" providerId="ADAL" clId="{0DCB131B-3EFE-42DC-9206-7151797C1B48}" dt="2021-01-06T21:52:30.404" v="2317" actId="2696"/>
        <pc:sldMkLst>
          <pc:docMk/>
          <pc:sldMk cId="310597355" sldId="275"/>
        </pc:sldMkLst>
      </pc:sldChg>
      <pc:sldChg chg="del">
        <pc:chgData name="Perez Diaz, Karen" userId="17027623-4de6-4c48-9453-394c2c5804f8" providerId="ADAL" clId="{0DCB131B-3EFE-42DC-9206-7151797C1B48}" dt="2021-01-06T21:52:30.328" v="2316" actId="2696"/>
        <pc:sldMkLst>
          <pc:docMk/>
          <pc:sldMk cId="2680744640" sldId="276"/>
        </pc:sldMkLst>
      </pc:sldChg>
      <pc:sldChg chg="del">
        <pc:chgData name="Perez Diaz, Karen" userId="17027623-4de6-4c48-9453-394c2c5804f8" providerId="ADAL" clId="{0DCB131B-3EFE-42DC-9206-7151797C1B48}" dt="2021-01-06T21:52:30.576" v="2320" actId="2696"/>
        <pc:sldMkLst>
          <pc:docMk/>
          <pc:sldMk cId="3980028277" sldId="278"/>
        </pc:sldMkLst>
      </pc:sldChg>
      <pc:sldChg chg="del">
        <pc:chgData name="Perez Diaz, Karen" userId="17027623-4de6-4c48-9453-394c2c5804f8" providerId="ADAL" clId="{0DCB131B-3EFE-42DC-9206-7151797C1B48}" dt="2021-01-06T21:52:30.627" v="2321" actId="2696"/>
        <pc:sldMkLst>
          <pc:docMk/>
          <pc:sldMk cId="3479740374" sldId="279"/>
        </pc:sldMkLst>
      </pc:sldChg>
      <pc:sldChg chg="del">
        <pc:chgData name="Perez Diaz, Karen" userId="17027623-4de6-4c48-9453-394c2c5804f8" providerId="ADAL" clId="{0DCB131B-3EFE-42DC-9206-7151797C1B48}" dt="2021-01-06T21:52:30.686" v="2322" actId="2696"/>
        <pc:sldMkLst>
          <pc:docMk/>
          <pc:sldMk cId="1909730383" sldId="280"/>
        </pc:sldMkLst>
      </pc:sldChg>
      <pc:sldChg chg="del">
        <pc:chgData name="Perez Diaz, Karen" userId="17027623-4de6-4c48-9453-394c2c5804f8" providerId="ADAL" clId="{0DCB131B-3EFE-42DC-9206-7151797C1B48}" dt="2021-01-06T21:52:30.740" v="2323" actId="2696"/>
        <pc:sldMkLst>
          <pc:docMk/>
          <pc:sldMk cId="1091974881" sldId="281"/>
        </pc:sldMkLst>
      </pc:sldChg>
      <pc:sldChg chg="del">
        <pc:chgData name="Perez Diaz, Karen" userId="17027623-4de6-4c48-9453-394c2c5804f8" providerId="ADAL" clId="{0DCB131B-3EFE-42DC-9206-7151797C1B48}" dt="2021-01-06T21:52:30.798" v="2324" actId="2696"/>
        <pc:sldMkLst>
          <pc:docMk/>
          <pc:sldMk cId="2301788946" sldId="282"/>
        </pc:sldMkLst>
      </pc:sldChg>
      <pc:sldChg chg="del">
        <pc:chgData name="Perez Diaz, Karen" userId="17027623-4de6-4c48-9453-394c2c5804f8" providerId="ADAL" clId="{0DCB131B-3EFE-42DC-9206-7151797C1B48}" dt="2021-01-06T21:52:30.905" v="2325" actId="2696"/>
        <pc:sldMkLst>
          <pc:docMk/>
          <pc:sldMk cId="4241624017" sldId="283"/>
        </pc:sldMkLst>
      </pc:sldChg>
      <pc:sldChg chg="del">
        <pc:chgData name="Perez Diaz, Karen" userId="17027623-4de6-4c48-9453-394c2c5804f8" providerId="ADAL" clId="{0DCB131B-3EFE-42DC-9206-7151797C1B48}" dt="2021-01-06T21:52:30.993" v="2326" actId="2696"/>
        <pc:sldMkLst>
          <pc:docMk/>
          <pc:sldMk cId="1755395930" sldId="284"/>
        </pc:sldMkLst>
      </pc:sldChg>
      <pc:sldChg chg="del">
        <pc:chgData name="Perez Diaz, Karen" userId="17027623-4de6-4c48-9453-394c2c5804f8" providerId="ADAL" clId="{0DCB131B-3EFE-42DC-9206-7151797C1B48}" dt="2021-01-06T21:52:31.049" v="2327" actId="2696"/>
        <pc:sldMkLst>
          <pc:docMk/>
          <pc:sldMk cId="2446719411" sldId="285"/>
        </pc:sldMkLst>
      </pc:sldChg>
      <pc:sldChg chg="del">
        <pc:chgData name="Perez Diaz, Karen" userId="17027623-4de6-4c48-9453-394c2c5804f8" providerId="ADAL" clId="{0DCB131B-3EFE-42DC-9206-7151797C1B48}" dt="2021-01-06T21:52:31.101" v="2328" actId="2696"/>
        <pc:sldMkLst>
          <pc:docMk/>
          <pc:sldMk cId="49975999" sldId="286"/>
        </pc:sldMkLst>
      </pc:sldChg>
      <pc:sldChg chg="del">
        <pc:chgData name="Perez Diaz, Karen" userId="17027623-4de6-4c48-9453-394c2c5804f8" providerId="ADAL" clId="{0DCB131B-3EFE-42DC-9206-7151797C1B48}" dt="2021-01-06T21:52:31.159" v="2330" actId="2696"/>
        <pc:sldMkLst>
          <pc:docMk/>
          <pc:sldMk cId="4240187392" sldId="288"/>
        </pc:sldMkLst>
      </pc:sldChg>
      <pc:sldChg chg="del">
        <pc:chgData name="Perez Diaz, Karen" userId="17027623-4de6-4c48-9453-394c2c5804f8" providerId="ADAL" clId="{0DCB131B-3EFE-42DC-9206-7151797C1B48}" dt="2021-01-06T21:52:31.209" v="2331" actId="2696"/>
        <pc:sldMkLst>
          <pc:docMk/>
          <pc:sldMk cId="105036416" sldId="289"/>
        </pc:sldMkLst>
      </pc:sldChg>
      <pc:sldChg chg="del">
        <pc:chgData name="Perez Diaz, Karen" userId="17027623-4de6-4c48-9453-394c2c5804f8" providerId="ADAL" clId="{0DCB131B-3EFE-42DC-9206-7151797C1B48}" dt="2021-01-06T21:52:31.260" v="2332" actId="2696"/>
        <pc:sldMkLst>
          <pc:docMk/>
          <pc:sldMk cId="3655224858" sldId="290"/>
        </pc:sldMkLst>
      </pc:sldChg>
      <pc:sldChg chg="del">
        <pc:chgData name="Perez Diaz, Karen" userId="17027623-4de6-4c48-9453-394c2c5804f8" providerId="ADAL" clId="{0DCB131B-3EFE-42DC-9206-7151797C1B48}" dt="2021-01-06T21:52:31.286" v="2333" actId="2696"/>
        <pc:sldMkLst>
          <pc:docMk/>
          <pc:sldMk cId="3799523929" sldId="291"/>
        </pc:sldMkLst>
      </pc:sldChg>
      <pc:sldChg chg="del">
        <pc:chgData name="Perez Diaz, Karen" userId="17027623-4de6-4c48-9453-394c2c5804f8" providerId="ADAL" clId="{0DCB131B-3EFE-42DC-9206-7151797C1B48}" dt="2021-01-06T21:52:31.327" v="2334" actId="2696"/>
        <pc:sldMkLst>
          <pc:docMk/>
          <pc:sldMk cId="3319124270" sldId="292"/>
        </pc:sldMkLst>
      </pc:sldChg>
      <pc:sldChg chg="del">
        <pc:chgData name="Perez Diaz, Karen" userId="17027623-4de6-4c48-9453-394c2c5804f8" providerId="ADAL" clId="{0DCB131B-3EFE-42DC-9206-7151797C1B48}" dt="2021-01-06T21:52:31.385" v="2335" actId="2696"/>
        <pc:sldMkLst>
          <pc:docMk/>
          <pc:sldMk cId="1056868111" sldId="293"/>
        </pc:sldMkLst>
      </pc:sldChg>
      <pc:sldChg chg="del">
        <pc:chgData name="Perez Diaz, Karen" userId="17027623-4de6-4c48-9453-394c2c5804f8" providerId="ADAL" clId="{0DCB131B-3EFE-42DC-9206-7151797C1B48}" dt="2021-01-06T21:52:31.447" v="2336" actId="2696"/>
        <pc:sldMkLst>
          <pc:docMk/>
          <pc:sldMk cId="524635612" sldId="294"/>
        </pc:sldMkLst>
      </pc:sldChg>
      <pc:sldChg chg="del">
        <pc:chgData name="Perez Diaz, Karen" userId="17027623-4de6-4c48-9453-394c2c5804f8" providerId="ADAL" clId="{0DCB131B-3EFE-42DC-9206-7151797C1B48}" dt="2021-01-06T21:52:31.713" v="2340" actId="2696"/>
        <pc:sldMkLst>
          <pc:docMk/>
          <pc:sldMk cId="1131813830" sldId="298"/>
        </pc:sldMkLst>
      </pc:sldChg>
      <pc:sldChg chg="del">
        <pc:chgData name="Perez Diaz, Karen" userId="17027623-4de6-4c48-9453-394c2c5804f8" providerId="ADAL" clId="{0DCB131B-3EFE-42DC-9206-7151797C1B48}" dt="2021-01-06T21:52:31.823" v="2341" actId="2696"/>
        <pc:sldMkLst>
          <pc:docMk/>
          <pc:sldMk cId="2171717940" sldId="299"/>
        </pc:sldMkLst>
      </pc:sldChg>
      <pc:sldChg chg="del">
        <pc:chgData name="Perez Diaz, Karen" userId="17027623-4de6-4c48-9453-394c2c5804f8" providerId="ADAL" clId="{0DCB131B-3EFE-42DC-9206-7151797C1B48}" dt="2021-01-06T21:52:31.900" v="2343" actId="2696"/>
        <pc:sldMkLst>
          <pc:docMk/>
          <pc:sldMk cId="315564378" sldId="301"/>
        </pc:sldMkLst>
      </pc:sldChg>
      <pc:sldChg chg="del">
        <pc:chgData name="Perez Diaz, Karen" userId="17027623-4de6-4c48-9453-394c2c5804f8" providerId="ADAL" clId="{0DCB131B-3EFE-42DC-9206-7151797C1B48}" dt="2021-01-06T21:52:31.920" v="2344" actId="2696"/>
        <pc:sldMkLst>
          <pc:docMk/>
          <pc:sldMk cId="2481496434" sldId="302"/>
        </pc:sldMkLst>
      </pc:sldChg>
      <pc:sldChg chg="del">
        <pc:chgData name="Perez Diaz, Karen" userId="17027623-4de6-4c48-9453-394c2c5804f8" providerId="ADAL" clId="{0DCB131B-3EFE-42DC-9206-7151797C1B48}" dt="2021-01-06T21:53:03.364" v="2346" actId="2696"/>
        <pc:sldMkLst>
          <pc:docMk/>
          <pc:sldMk cId="867503253" sldId="303"/>
        </pc:sldMkLst>
      </pc:sldChg>
      <pc:sldChg chg="del">
        <pc:chgData name="Perez Diaz, Karen" userId="17027623-4de6-4c48-9453-394c2c5804f8" providerId="ADAL" clId="{0DCB131B-3EFE-42DC-9206-7151797C1B48}" dt="2021-01-06T21:53:03.396" v="2348" actId="2696"/>
        <pc:sldMkLst>
          <pc:docMk/>
          <pc:sldMk cId="1455766230" sldId="304"/>
        </pc:sldMkLst>
      </pc:sldChg>
      <pc:sldChg chg="del">
        <pc:chgData name="Perez Diaz, Karen" userId="17027623-4de6-4c48-9453-394c2c5804f8" providerId="ADAL" clId="{0DCB131B-3EFE-42DC-9206-7151797C1B48}" dt="2021-01-06T21:53:03.412" v="2349" actId="2696"/>
        <pc:sldMkLst>
          <pc:docMk/>
          <pc:sldMk cId="1505478208" sldId="305"/>
        </pc:sldMkLst>
      </pc:sldChg>
      <pc:sldChg chg="del">
        <pc:chgData name="Perez Diaz, Karen" userId="17027623-4de6-4c48-9453-394c2c5804f8" providerId="ADAL" clId="{0DCB131B-3EFE-42DC-9206-7151797C1B48}" dt="2021-01-06T21:52:30.476" v="2318" actId="2696"/>
        <pc:sldMkLst>
          <pc:docMk/>
          <pc:sldMk cId="111735212" sldId="310"/>
        </pc:sldMkLst>
      </pc:sldChg>
      <pc:sldChg chg="del">
        <pc:chgData name="Perez Diaz, Karen" userId="17027623-4de6-4c48-9453-394c2c5804f8" providerId="ADAL" clId="{0DCB131B-3EFE-42DC-9206-7151797C1B48}" dt="2021-01-06T21:52:29.796" v="2308" actId="2696"/>
        <pc:sldMkLst>
          <pc:docMk/>
          <pc:sldMk cId="207782174" sldId="311"/>
        </pc:sldMkLst>
      </pc:sldChg>
      <pc:sldChg chg="delSp modSp ord">
        <pc:chgData name="Perez Diaz, Karen" userId="17027623-4de6-4c48-9453-394c2c5804f8" providerId="ADAL" clId="{0DCB131B-3EFE-42DC-9206-7151797C1B48}" dt="2021-01-06T21:48:48.651" v="2291" actId="478"/>
        <pc:sldMkLst>
          <pc:docMk/>
          <pc:sldMk cId="753726229" sldId="379"/>
        </pc:sldMkLst>
        <pc:spChg chg="del mod">
          <ac:chgData name="Perez Diaz, Karen" userId="17027623-4de6-4c48-9453-394c2c5804f8" providerId="ADAL" clId="{0DCB131B-3EFE-42DC-9206-7151797C1B48}" dt="2021-01-06T21:48:48.651" v="2291" actId="478"/>
          <ac:spMkLst>
            <pc:docMk/>
            <pc:sldMk cId="753726229" sldId="379"/>
            <ac:spMk id="43" creationId="{B878A2F9-6E93-4A8D-952F-08A71648C6EF}"/>
          </ac:spMkLst>
        </pc:spChg>
      </pc:sldChg>
      <pc:sldChg chg="del">
        <pc:chgData name="Perez Diaz, Karen" userId="17027623-4de6-4c48-9453-394c2c5804f8" providerId="ADAL" clId="{0DCB131B-3EFE-42DC-9206-7151797C1B48}" dt="2021-01-06T21:48:14.452" v="2286" actId="2696"/>
        <pc:sldMkLst>
          <pc:docMk/>
          <pc:sldMk cId="2981374527" sldId="519"/>
        </pc:sldMkLst>
      </pc:sldChg>
      <pc:sldChg chg="del">
        <pc:chgData name="Perez Diaz, Karen" userId="17027623-4de6-4c48-9453-394c2c5804f8" providerId="ADAL" clId="{0DCB131B-3EFE-42DC-9206-7151797C1B48}" dt="2021-01-06T21:53:03.349" v="2345" actId="2696"/>
        <pc:sldMkLst>
          <pc:docMk/>
          <pc:sldMk cId="2029077284" sldId="572"/>
        </pc:sldMkLst>
      </pc:sldChg>
      <pc:sldChg chg="del">
        <pc:chgData name="Perez Diaz, Karen" userId="17027623-4de6-4c48-9453-394c2c5804f8" providerId="ADAL" clId="{0DCB131B-3EFE-42DC-9206-7151797C1B48}" dt="2021-01-06T21:52:29.934" v="2310" actId="2696"/>
        <pc:sldMkLst>
          <pc:docMk/>
          <pc:sldMk cId="3993351514" sldId="586"/>
        </pc:sldMkLst>
      </pc:sldChg>
      <pc:sldChg chg="del">
        <pc:chgData name="Perez Diaz, Karen" userId="17027623-4de6-4c48-9453-394c2c5804f8" providerId="ADAL" clId="{0DCB131B-3EFE-42DC-9206-7151797C1B48}" dt="2021-01-06T21:52:29.994" v="2311" actId="2696"/>
        <pc:sldMkLst>
          <pc:docMk/>
          <pc:sldMk cId="1122392241" sldId="590"/>
        </pc:sldMkLst>
      </pc:sldChg>
      <pc:sldChg chg="del">
        <pc:chgData name="Perez Diaz, Karen" userId="17027623-4de6-4c48-9453-394c2c5804f8" providerId="ADAL" clId="{0DCB131B-3EFE-42DC-9206-7151797C1B48}" dt="2021-01-06T21:52:30.072" v="2312" actId="2696"/>
        <pc:sldMkLst>
          <pc:docMk/>
          <pc:sldMk cId="411204037" sldId="591"/>
        </pc:sldMkLst>
      </pc:sldChg>
      <pc:sldChg chg="del">
        <pc:chgData name="Perez Diaz, Karen" userId="17027623-4de6-4c48-9453-394c2c5804f8" providerId="ADAL" clId="{0DCB131B-3EFE-42DC-9206-7151797C1B48}" dt="2021-01-06T21:52:30.521" v="2319" actId="2696"/>
        <pc:sldMkLst>
          <pc:docMk/>
          <pc:sldMk cId="2142635461" sldId="592"/>
        </pc:sldMkLst>
      </pc:sldChg>
      <pc:sldChg chg="del">
        <pc:chgData name="Perez Diaz, Karen" userId="17027623-4de6-4c48-9453-394c2c5804f8" providerId="ADAL" clId="{0DCB131B-3EFE-42DC-9206-7151797C1B48}" dt="2021-01-06T21:52:31.124" v="2329" actId="2696"/>
        <pc:sldMkLst>
          <pc:docMk/>
          <pc:sldMk cId="696519804" sldId="593"/>
        </pc:sldMkLst>
      </pc:sldChg>
      <pc:sldChg chg="del">
        <pc:chgData name="Perez Diaz, Karen" userId="17027623-4de6-4c48-9453-394c2c5804f8" providerId="ADAL" clId="{0DCB131B-3EFE-42DC-9206-7151797C1B48}" dt="2021-01-06T21:52:31.516" v="2337" actId="2696"/>
        <pc:sldMkLst>
          <pc:docMk/>
          <pc:sldMk cId="3478794160" sldId="594"/>
        </pc:sldMkLst>
      </pc:sldChg>
      <pc:sldChg chg="del">
        <pc:chgData name="Perez Diaz, Karen" userId="17027623-4de6-4c48-9453-394c2c5804f8" providerId="ADAL" clId="{0DCB131B-3EFE-42DC-9206-7151797C1B48}" dt="2021-01-06T21:52:31.588" v="2338" actId="2696"/>
        <pc:sldMkLst>
          <pc:docMk/>
          <pc:sldMk cId="2822776316" sldId="595"/>
        </pc:sldMkLst>
      </pc:sldChg>
      <pc:sldChg chg="del">
        <pc:chgData name="Perez Diaz, Karen" userId="17027623-4de6-4c48-9453-394c2c5804f8" providerId="ADAL" clId="{0DCB131B-3EFE-42DC-9206-7151797C1B48}" dt="2021-01-06T21:52:31.656" v="2339" actId="2696"/>
        <pc:sldMkLst>
          <pc:docMk/>
          <pc:sldMk cId="3180175613" sldId="596"/>
        </pc:sldMkLst>
      </pc:sldChg>
      <pc:sldChg chg="del">
        <pc:chgData name="Perez Diaz, Karen" userId="17027623-4de6-4c48-9453-394c2c5804f8" providerId="ADAL" clId="{0DCB131B-3EFE-42DC-9206-7151797C1B48}" dt="2021-01-06T21:52:31.862" v="2342" actId="2696"/>
        <pc:sldMkLst>
          <pc:docMk/>
          <pc:sldMk cId="3608377419" sldId="597"/>
        </pc:sldMkLst>
      </pc:sldChg>
      <pc:sldChg chg="del">
        <pc:chgData name="Perez Diaz, Karen" userId="17027623-4de6-4c48-9453-394c2c5804f8" providerId="ADAL" clId="{0DCB131B-3EFE-42DC-9206-7151797C1B48}" dt="2021-01-06T21:52:29.872" v="2309" actId="2696"/>
        <pc:sldMkLst>
          <pc:docMk/>
          <pc:sldMk cId="2665479569" sldId="601"/>
        </pc:sldMkLst>
      </pc:sldChg>
      <pc:sldChg chg="del">
        <pc:chgData name="Perez Diaz, Karen" userId="17027623-4de6-4c48-9453-394c2c5804f8" providerId="ADAL" clId="{0DCB131B-3EFE-42DC-9206-7151797C1B48}" dt="2021-01-06T21:53:03.427" v="2350" actId="2696"/>
        <pc:sldMkLst>
          <pc:docMk/>
          <pc:sldMk cId="1622154538" sldId="602"/>
        </pc:sldMkLst>
      </pc:sldChg>
      <pc:sldChg chg="ord">
        <pc:chgData name="Perez Diaz, Karen" userId="17027623-4de6-4c48-9453-394c2c5804f8" providerId="ADAL" clId="{0DCB131B-3EFE-42DC-9206-7151797C1B48}" dt="2021-01-06T21:53:23.464" v="2352"/>
        <pc:sldMkLst>
          <pc:docMk/>
          <pc:sldMk cId="1158267310" sldId="722"/>
        </pc:sldMkLst>
      </pc:sldChg>
      <pc:sldChg chg="modSp">
        <pc:chgData name="Perez Diaz, Karen" userId="17027623-4de6-4c48-9453-394c2c5804f8" providerId="ADAL" clId="{0DCB131B-3EFE-42DC-9206-7151797C1B48}" dt="2021-01-07T19:14:51.188" v="2362" actId="6549"/>
        <pc:sldMkLst>
          <pc:docMk/>
          <pc:sldMk cId="3197154609" sldId="736"/>
        </pc:sldMkLst>
        <pc:spChg chg="mod">
          <ac:chgData name="Perez Diaz, Karen" userId="17027623-4de6-4c48-9453-394c2c5804f8" providerId="ADAL" clId="{0DCB131B-3EFE-42DC-9206-7151797C1B48}" dt="2021-01-07T19:14:51.188" v="2362" actId="6549"/>
          <ac:spMkLst>
            <pc:docMk/>
            <pc:sldMk cId="3197154609" sldId="736"/>
            <ac:spMk id="2" creationId="{FE1208AD-B065-42AE-BC44-9C064C83105A}"/>
          </ac:spMkLst>
        </pc:spChg>
      </pc:sldChg>
      <pc:sldChg chg="delSp">
        <pc:chgData name="Perez Diaz, Karen" userId="17027623-4de6-4c48-9453-394c2c5804f8" providerId="ADAL" clId="{0DCB131B-3EFE-42DC-9206-7151797C1B48}" dt="2021-01-06T21:48:52.059" v="2292" actId="478"/>
        <pc:sldMkLst>
          <pc:docMk/>
          <pc:sldMk cId="1285900942" sldId="737"/>
        </pc:sldMkLst>
        <pc:spChg chg="del">
          <ac:chgData name="Perez Diaz, Karen" userId="17027623-4de6-4c48-9453-394c2c5804f8" providerId="ADAL" clId="{0DCB131B-3EFE-42DC-9206-7151797C1B48}" dt="2021-01-06T21:48:52.059" v="2292" actId="478"/>
          <ac:spMkLst>
            <pc:docMk/>
            <pc:sldMk cId="1285900942" sldId="737"/>
            <ac:spMk id="16" creationId="{00000000-0000-0000-0000-000000000000}"/>
          </ac:spMkLst>
        </pc:spChg>
      </pc:sldChg>
      <pc:sldChg chg="delSp">
        <pc:chgData name="Perez Diaz, Karen" userId="17027623-4de6-4c48-9453-394c2c5804f8" providerId="ADAL" clId="{0DCB131B-3EFE-42DC-9206-7151797C1B48}" dt="2021-01-06T21:48:54.762" v="2293" actId="478"/>
        <pc:sldMkLst>
          <pc:docMk/>
          <pc:sldMk cId="3216517808" sldId="738"/>
        </pc:sldMkLst>
        <pc:spChg chg="del">
          <ac:chgData name="Perez Diaz, Karen" userId="17027623-4de6-4c48-9453-394c2c5804f8" providerId="ADAL" clId="{0DCB131B-3EFE-42DC-9206-7151797C1B48}" dt="2021-01-06T21:48:54.762" v="2293" actId="478"/>
          <ac:spMkLst>
            <pc:docMk/>
            <pc:sldMk cId="3216517808" sldId="738"/>
            <ac:spMk id="27" creationId="{00000000-0000-0000-0000-000000000000}"/>
          </ac:spMkLst>
        </pc:spChg>
      </pc:sldChg>
      <pc:sldChg chg="addSp delSp modSp">
        <pc:chgData name="Perez Diaz, Karen" userId="17027623-4de6-4c48-9453-394c2c5804f8" providerId="ADAL" clId="{0DCB131B-3EFE-42DC-9206-7151797C1B48}" dt="2021-01-06T21:49:20.459" v="2296" actId="1036"/>
        <pc:sldMkLst>
          <pc:docMk/>
          <pc:sldMk cId="881379272" sldId="742"/>
        </pc:sldMkLst>
        <pc:spChg chg="mod">
          <ac:chgData name="Perez Diaz, Karen" userId="17027623-4de6-4c48-9453-394c2c5804f8" providerId="ADAL" clId="{0DCB131B-3EFE-42DC-9206-7151797C1B48}" dt="2021-01-06T20:53:15.308" v="1033" actId="164"/>
          <ac:spMkLst>
            <pc:docMk/>
            <pc:sldMk cId="881379272" sldId="742"/>
            <ac:spMk id="16" creationId="{0A6DB9FC-2790-49F5-96BC-671A635F376F}"/>
          </ac:spMkLst>
        </pc:spChg>
        <pc:spChg chg="mod">
          <ac:chgData name="Perez Diaz, Karen" userId="17027623-4de6-4c48-9453-394c2c5804f8" providerId="ADAL" clId="{0DCB131B-3EFE-42DC-9206-7151797C1B48}" dt="2021-01-06T20:53:15.308" v="1033" actId="164"/>
          <ac:spMkLst>
            <pc:docMk/>
            <pc:sldMk cId="881379272" sldId="742"/>
            <ac:spMk id="32" creationId="{C23CAF40-5081-4672-BB4F-CE5D10092D0A}"/>
          </ac:spMkLst>
        </pc:spChg>
        <pc:spChg chg="mod">
          <ac:chgData name="Perez Diaz, Karen" userId="17027623-4de6-4c48-9453-394c2c5804f8" providerId="ADAL" clId="{0DCB131B-3EFE-42DC-9206-7151797C1B48}" dt="2021-01-06T20:53:15.308" v="1033" actId="164"/>
          <ac:spMkLst>
            <pc:docMk/>
            <pc:sldMk cId="881379272" sldId="742"/>
            <ac:spMk id="33" creationId="{EA2C1C74-8715-4291-B19D-B1A652C9088A}"/>
          </ac:spMkLst>
        </pc:spChg>
        <pc:spChg chg="mod">
          <ac:chgData name="Perez Diaz, Karen" userId="17027623-4de6-4c48-9453-394c2c5804f8" providerId="ADAL" clId="{0DCB131B-3EFE-42DC-9206-7151797C1B48}" dt="2021-01-06T20:53:15.308" v="1033" actId="164"/>
          <ac:spMkLst>
            <pc:docMk/>
            <pc:sldMk cId="881379272" sldId="742"/>
            <ac:spMk id="34" creationId="{382E8A01-BEF3-48DC-8ADF-624A68CB482B}"/>
          </ac:spMkLst>
        </pc:spChg>
        <pc:spChg chg="mod">
          <ac:chgData name="Perez Diaz, Karen" userId="17027623-4de6-4c48-9453-394c2c5804f8" providerId="ADAL" clId="{0DCB131B-3EFE-42DC-9206-7151797C1B48}" dt="2021-01-06T21:47:45.588" v="2283" actId="1036"/>
          <ac:spMkLst>
            <pc:docMk/>
            <pc:sldMk cId="881379272" sldId="742"/>
            <ac:spMk id="36" creationId="{B1C07FB1-E4F7-46B0-9153-B6C0A2878CC2}"/>
          </ac:spMkLst>
        </pc:spChg>
        <pc:spChg chg="mod">
          <ac:chgData name="Perez Diaz, Karen" userId="17027623-4de6-4c48-9453-394c2c5804f8" providerId="ADAL" clId="{0DCB131B-3EFE-42DC-9206-7151797C1B48}" dt="2021-01-06T20:53:15.308" v="1033" actId="164"/>
          <ac:spMkLst>
            <pc:docMk/>
            <pc:sldMk cId="881379272" sldId="742"/>
            <ac:spMk id="45" creationId="{3343FEFB-7C1D-4798-BA26-F401C7045C50}"/>
          </ac:spMkLst>
        </pc:spChg>
        <pc:spChg chg="add mod ord">
          <ac:chgData name="Perez Diaz, Karen" userId="17027623-4de6-4c48-9453-394c2c5804f8" providerId="ADAL" clId="{0DCB131B-3EFE-42DC-9206-7151797C1B48}" dt="2021-01-06T20:53:15.308" v="1033" actId="164"/>
          <ac:spMkLst>
            <pc:docMk/>
            <pc:sldMk cId="881379272" sldId="742"/>
            <ac:spMk id="50" creationId="{75207217-91AF-4E8B-A9E8-A32EC790D29A}"/>
          </ac:spMkLst>
        </pc:spChg>
        <pc:spChg chg="add mod">
          <ac:chgData name="Perez Diaz, Karen" userId="17027623-4de6-4c48-9453-394c2c5804f8" providerId="ADAL" clId="{0DCB131B-3EFE-42DC-9206-7151797C1B48}" dt="2021-01-06T21:49:20.459" v="2296" actId="1036"/>
          <ac:spMkLst>
            <pc:docMk/>
            <pc:sldMk cId="881379272" sldId="742"/>
            <ac:spMk id="51" creationId="{7C2DA789-4AEE-438D-B6B0-82E1F6EC2C72}"/>
          </ac:spMkLst>
        </pc:spChg>
        <pc:spChg chg="mod">
          <ac:chgData name="Perez Diaz, Karen" userId="17027623-4de6-4c48-9453-394c2c5804f8" providerId="ADAL" clId="{0DCB131B-3EFE-42DC-9206-7151797C1B48}" dt="2021-01-06T21:45:26.644" v="2264" actId="113"/>
          <ac:spMkLst>
            <pc:docMk/>
            <pc:sldMk cId="881379272" sldId="742"/>
            <ac:spMk id="69" creationId="{D660A072-DFBB-4936-95BF-01DEE4F7CF2D}"/>
          </ac:spMkLst>
        </pc:spChg>
        <pc:grpChg chg="add mod">
          <ac:chgData name="Perez Diaz, Karen" userId="17027623-4de6-4c48-9453-394c2c5804f8" providerId="ADAL" clId="{0DCB131B-3EFE-42DC-9206-7151797C1B48}" dt="2021-01-06T20:53:21.923" v="1047" actId="1035"/>
          <ac:grpSpMkLst>
            <pc:docMk/>
            <pc:sldMk cId="881379272" sldId="742"/>
            <ac:grpSpMk id="21" creationId="{9D6DA8C5-2116-432C-BA28-25EE6D29583D}"/>
          </ac:grpSpMkLst>
        </pc:grpChg>
        <pc:grpChg chg="mod">
          <ac:chgData name="Perez Diaz, Karen" userId="17027623-4de6-4c48-9453-394c2c5804f8" providerId="ADAL" clId="{0DCB131B-3EFE-42DC-9206-7151797C1B48}" dt="2021-01-06T20:53:15.308" v="1033" actId="164"/>
          <ac:grpSpMkLst>
            <pc:docMk/>
            <pc:sldMk cId="881379272" sldId="742"/>
            <ac:grpSpMk id="26" creationId="{899AB3C6-D04B-467B-80AD-71290C5FD607}"/>
          </ac:grpSpMkLst>
        </pc:grpChg>
        <pc:grpChg chg="mod">
          <ac:chgData name="Perez Diaz, Karen" userId="17027623-4de6-4c48-9453-394c2c5804f8" providerId="ADAL" clId="{0DCB131B-3EFE-42DC-9206-7151797C1B48}" dt="2021-01-06T20:53:15.308" v="1033" actId="164"/>
          <ac:grpSpMkLst>
            <pc:docMk/>
            <pc:sldMk cId="881379272" sldId="742"/>
            <ac:grpSpMk id="59" creationId="{C41B3DFB-F3AE-4D87-9B8C-C3589EDBC3BF}"/>
          </ac:grpSpMkLst>
        </pc:grpChg>
        <pc:cxnChg chg="mod">
          <ac:chgData name="Perez Diaz, Karen" userId="17027623-4de6-4c48-9453-394c2c5804f8" providerId="ADAL" clId="{0DCB131B-3EFE-42DC-9206-7151797C1B48}" dt="2021-01-06T20:53:21.923" v="1047" actId="1035"/>
          <ac:cxnSpMkLst>
            <pc:docMk/>
            <pc:sldMk cId="881379272" sldId="742"/>
            <ac:cxnSpMk id="38" creationId="{7F2776A2-55FA-4901-8D56-61F7EDBF5378}"/>
          </ac:cxnSpMkLst>
        </pc:cxnChg>
        <pc:cxnChg chg="mod">
          <ac:chgData name="Perez Diaz, Karen" userId="17027623-4de6-4c48-9453-394c2c5804f8" providerId="ADAL" clId="{0DCB131B-3EFE-42DC-9206-7151797C1B48}" dt="2021-01-06T20:41:59.835" v="914" actId="14100"/>
          <ac:cxnSpMkLst>
            <pc:docMk/>
            <pc:sldMk cId="881379272" sldId="742"/>
            <ac:cxnSpMk id="40" creationId="{41BF7768-DCB4-4368-9877-C2C93FF91055}"/>
          </ac:cxnSpMkLst>
        </pc:cxnChg>
        <pc:cxnChg chg="mod">
          <ac:chgData name="Perez Diaz, Karen" userId="17027623-4de6-4c48-9453-394c2c5804f8" providerId="ADAL" clId="{0DCB131B-3EFE-42DC-9206-7151797C1B48}" dt="2021-01-06T20:42:03.459" v="915" actId="14100"/>
          <ac:cxnSpMkLst>
            <pc:docMk/>
            <pc:sldMk cId="881379272" sldId="742"/>
            <ac:cxnSpMk id="42" creationId="{3D295E1E-2075-4B22-857E-FD03C60F7025}"/>
          </ac:cxnSpMkLst>
        </pc:cxnChg>
        <pc:cxnChg chg="del mod">
          <ac:chgData name="Perez Diaz, Karen" userId="17027623-4de6-4c48-9453-394c2c5804f8" providerId="ADAL" clId="{0DCB131B-3EFE-42DC-9206-7151797C1B48}" dt="2021-01-06T20:52:11.222" v="1014" actId="478"/>
          <ac:cxnSpMkLst>
            <pc:docMk/>
            <pc:sldMk cId="881379272" sldId="742"/>
            <ac:cxnSpMk id="44" creationId="{687E4B6D-A892-4E39-B6A9-A12D460436C1}"/>
          </ac:cxnSpMkLst>
        </pc:cxnChg>
        <pc:cxnChg chg="mod">
          <ac:chgData name="Perez Diaz, Karen" userId="17027623-4de6-4c48-9453-394c2c5804f8" providerId="ADAL" clId="{0DCB131B-3EFE-42DC-9206-7151797C1B48}" dt="2021-01-06T20:53:21.923" v="1047" actId="1035"/>
          <ac:cxnSpMkLst>
            <pc:docMk/>
            <pc:sldMk cId="881379272" sldId="742"/>
            <ac:cxnSpMk id="47" creationId="{027D99D2-D61F-43DD-88D9-A764AB3F4C74}"/>
          </ac:cxnSpMkLst>
        </pc:cxnChg>
        <pc:cxnChg chg="mod">
          <ac:chgData name="Perez Diaz, Karen" userId="17027623-4de6-4c48-9453-394c2c5804f8" providerId="ADAL" clId="{0DCB131B-3EFE-42DC-9206-7151797C1B48}" dt="2021-01-06T20:42:11.522" v="917" actId="14100"/>
          <ac:cxnSpMkLst>
            <pc:docMk/>
            <pc:sldMk cId="881379272" sldId="742"/>
            <ac:cxnSpMk id="49" creationId="{EB1E3269-08BD-4913-A0C9-43F30A56D799}"/>
          </ac:cxnSpMkLst>
        </pc:cxnChg>
        <pc:cxnChg chg="mod">
          <ac:chgData name="Perez Diaz, Karen" userId="17027623-4de6-4c48-9453-394c2c5804f8" providerId="ADAL" clId="{0DCB131B-3EFE-42DC-9206-7151797C1B48}" dt="2021-01-06T20:53:21.923" v="1047" actId="1035"/>
          <ac:cxnSpMkLst>
            <pc:docMk/>
            <pc:sldMk cId="881379272" sldId="742"/>
            <ac:cxnSpMk id="52" creationId="{9A801628-898B-4840-8337-E3F4FCEE2F10}"/>
          </ac:cxnSpMkLst>
        </pc:cxnChg>
        <pc:cxnChg chg="add del">
          <ac:chgData name="Perez Diaz, Karen" userId="17027623-4de6-4c48-9453-394c2c5804f8" providerId="ADAL" clId="{0DCB131B-3EFE-42DC-9206-7151797C1B48}" dt="2021-01-06T20:52:09.854" v="1013"/>
          <ac:cxnSpMkLst>
            <pc:docMk/>
            <pc:sldMk cId="881379272" sldId="742"/>
            <ac:cxnSpMk id="56" creationId="{F10C1885-EB43-4265-966A-158676737046}"/>
          </ac:cxnSpMkLst>
        </pc:cxnChg>
        <pc:cxnChg chg="add del mod">
          <ac:chgData name="Perez Diaz, Karen" userId="17027623-4de6-4c48-9453-394c2c5804f8" providerId="ADAL" clId="{0DCB131B-3EFE-42DC-9206-7151797C1B48}" dt="2021-01-06T20:52:36.532" v="1026" actId="478"/>
          <ac:cxnSpMkLst>
            <pc:docMk/>
            <pc:sldMk cId="881379272" sldId="742"/>
            <ac:cxnSpMk id="57" creationId="{D62A5F40-9022-48CD-95DE-231FE1D00964}"/>
          </ac:cxnSpMkLst>
        </pc:cxnChg>
        <pc:cxnChg chg="add">
          <ac:chgData name="Perez Diaz, Karen" userId="17027623-4de6-4c48-9453-394c2c5804f8" providerId="ADAL" clId="{0DCB131B-3EFE-42DC-9206-7151797C1B48}" dt="2021-01-06T20:52:36.804" v="1027"/>
          <ac:cxnSpMkLst>
            <pc:docMk/>
            <pc:sldMk cId="881379272" sldId="742"/>
            <ac:cxnSpMk id="58" creationId="{61486903-F490-4189-A8DE-CBD91F459B18}"/>
          </ac:cxnSpMkLst>
        </pc:cxnChg>
        <pc:cxnChg chg="mod">
          <ac:chgData name="Perez Diaz, Karen" userId="17027623-4de6-4c48-9453-394c2c5804f8" providerId="ADAL" clId="{0DCB131B-3EFE-42DC-9206-7151797C1B48}" dt="2021-01-06T20:42:07.357" v="916" actId="14100"/>
          <ac:cxnSpMkLst>
            <pc:docMk/>
            <pc:sldMk cId="881379272" sldId="742"/>
            <ac:cxnSpMk id="67" creationId="{BCC689C9-66DC-4DAB-980A-751E46C8B338}"/>
          </ac:cxnSpMkLst>
        </pc:cxnChg>
        <pc:cxnChg chg="mod">
          <ac:chgData name="Perez Diaz, Karen" userId="17027623-4de6-4c48-9453-394c2c5804f8" providerId="ADAL" clId="{0DCB131B-3EFE-42DC-9206-7151797C1B48}" dt="2021-01-06T20:53:21.923" v="1047" actId="1035"/>
          <ac:cxnSpMkLst>
            <pc:docMk/>
            <pc:sldMk cId="881379272" sldId="742"/>
            <ac:cxnSpMk id="170" creationId="{22C87227-5D49-40A2-A3BC-8592EC3CD579}"/>
          </ac:cxnSpMkLst>
        </pc:cxnChg>
      </pc:sldChg>
      <pc:sldChg chg="addSp delSp modSp add del">
        <pc:chgData name="Perez Diaz, Karen" userId="17027623-4de6-4c48-9453-394c2c5804f8" providerId="ADAL" clId="{0DCB131B-3EFE-42DC-9206-7151797C1B48}" dt="2021-01-06T21:44:45.712" v="2260" actId="2696"/>
        <pc:sldMkLst>
          <pc:docMk/>
          <pc:sldMk cId="3913551135" sldId="743"/>
        </pc:sldMkLst>
        <pc:spChg chg="mod topLvl">
          <ac:chgData name="Perez Diaz, Karen" userId="17027623-4de6-4c48-9453-394c2c5804f8" providerId="ADAL" clId="{0DCB131B-3EFE-42DC-9206-7151797C1B48}" dt="2021-01-06T21:25:20.150" v="1973" actId="164"/>
          <ac:spMkLst>
            <pc:docMk/>
            <pc:sldMk cId="3913551135" sldId="743"/>
            <ac:spMk id="16" creationId="{0A6DB9FC-2790-49F5-96BC-671A635F376F}"/>
          </ac:spMkLst>
        </pc:spChg>
        <pc:spChg chg="mod topLvl">
          <ac:chgData name="Perez Diaz, Karen" userId="17027623-4de6-4c48-9453-394c2c5804f8" providerId="ADAL" clId="{0DCB131B-3EFE-42DC-9206-7151797C1B48}" dt="2021-01-06T21:25:20.150" v="1973" actId="164"/>
          <ac:spMkLst>
            <pc:docMk/>
            <pc:sldMk cId="3913551135" sldId="743"/>
            <ac:spMk id="32" creationId="{C23CAF40-5081-4672-BB4F-CE5D10092D0A}"/>
          </ac:spMkLst>
        </pc:spChg>
        <pc:spChg chg="mod topLvl">
          <ac:chgData name="Perez Diaz, Karen" userId="17027623-4de6-4c48-9453-394c2c5804f8" providerId="ADAL" clId="{0DCB131B-3EFE-42DC-9206-7151797C1B48}" dt="2021-01-06T21:25:20.150" v="1973" actId="164"/>
          <ac:spMkLst>
            <pc:docMk/>
            <pc:sldMk cId="3913551135" sldId="743"/>
            <ac:spMk id="33" creationId="{EA2C1C74-8715-4291-B19D-B1A652C9088A}"/>
          </ac:spMkLst>
        </pc:spChg>
        <pc:spChg chg="mod topLvl">
          <ac:chgData name="Perez Diaz, Karen" userId="17027623-4de6-4c48-9453-394c2c5804f8" providerId="ADAL" clId="{0DCB131B-3EFE-42DC-9206-7151797C1B48}" dt="2021-01-06T21:25:20.150" v="1973" actId="164"/>
          <ac:spMkLst>
            <pc:docMk/>
            <pc:sldMk cId="3913551135" sldId="743"/>
            <ac:spMk id="34" creationId="{382E8A01-BEF3-48DC-8ADF-624A68CB482B}"/>
          </ac:spMkLst>
        </pc:spChg>
        <pc:spChg chg="mod topLvl">
          <ac:chgData name="Perez Diaz, Karen" userId="17027623-4de6-4c48-9453-394c2c5804f8" providerId="ADAL" clId="{0DCB131B-3EFE-42DC-9206-7151797C1B48}" dt="2021-01-06T21:25:20.150" v="1973" actId="164"/>
          <ac:spMkLst>
            <pc:docMk/>
            <pc:sldMk cId="3913551135" sldId="743"/>
            <ac:spMk id="45" creationId="{3343FEFB-7C1D-4798-BA26-F401C7045C50}"/>
          </ac:spMkLst>
        </pc:spChg>
        <pc:spChg chg="mod topLvl">
          <ac:chgData name="Perez Diaz, Karen" userId="17027623-4de6-4c48-9453-394c2c5804f8" providerId="ADAL" clId="{0DCB131B-3EFE-42DC-9206-7151797C1B48}" dt="2021-01-06T21:25:20.150" v="1973" actId="164"/>
          <ac:spMkLst>
            <pc:docMk/>
            <pc:sldMk cId="3913551135" sldId="743"/>
            <ac:spMk id="69" creationId="{D660A072-DFBB-4936-95BF-01DEE4F7CF2D}"/>
          </ac:spMkLst>
        </pc:spChg>
        <pc:spChg chg="add mod ord">
          <ac:chgData name="Perez Diaz, Karen" userId="17027623-4de6-4c48-9453-394c2c5804f8" providerId="ADAL" clId="{0DCB131B-3EFE-42DC-9206-7151797C1B48}" dt="2021-01-06T21:25:20.150" v="1973" actId="164"/>
          <ac:spMkLst>
            <pc:docMk/>
            <pc:sldMk cId="3913551135" sldId="743"/>
            <ac:spMk id="73" creationId="{C91975A5-4885-4F6A-839E-6E6A909F4168}"/>
          </ac:spMkLst>
        </pc:spChg>
        <pc:spChg chg="add mod ord">
          <ac:chgData name="Perez Diaz, Karen" userId="17027623-4de6-4c48-9453-394c2c5804f8" providerId="ADAL" clId="{0DCB131B-3EFE-42DC-9206-7151797C1B48}" dt="2021-01-06T21:25:20.150" v="1973" actId="164"/>
          <ac:spMkLst>
            <pc:docMk/>
            <pc:sldMk cId="3913551135" sldId="743"/>
            <ac:spMk id="76" creationId="{EC2A5AEB-1430-4C47-B573-A7303DCEA583}"/>
          </ac:spMkLst>
        </pc:spChg>
        <pc:spChg chg="del">
          <ac:chgData name="Perez Diaz, Karen" userId="17027623-4de6-4c48-9453-394c2c5804f8" providerId="ADAL" clId="{0DCB131B-3EFE-42DC-9206-7151797C1B48}" dt="2021-01-06T20:49:01.041" v="919" actId="478"/>
          <ac:spMkLst>
            <pc:docMk/>
            <pc:sldMk cId="3913551135" sldId="743"/>
            <ac:spMk id="104" creationId="{D7DBCDAE-E439-4C13-AB0B-B49695AB8EC9}"/>
          </ac:spMkLst>
        </pc:spChg>
        <pc:spChg chg="mod">
          <ac:chgData name="Perez Diaz, Karen" userId="17027623-4de6-4c48-9453-394c2c5804f8" providerId="ADAL" clId="{0DCB131B-3EFE-42DC-9206-7151797C1B48}" dt="2021-01-06T20:51:02.776" v="997" actId="1037"/>
          <ac:spMkLst>
            <pc:docMk/>
            <pc:sldMk cId="3913551135" sldId="743"/>
            <ac:spMk id="111" creationId="{BFE84C98-41FA-487B-9228-92CF6F468B5E}"/>
          </ac:spMkLst>
        </pc:spChg>
        <pc:spChg chg="mod">
          <ac:chgData name="Perez Diaz, Karen" userId="17027623-4de6-4c48-9453-394c2c5804f8" providerId="ADAL" clId="{0DCB131B-3EFE-42DC-9206-7151797C1B48}" dt="2021-01-06T20:51:02.776" v="997" actId="1037"/>
          <ac:spMkLst>
            <pc:docMk/>
            <pc:sldMk cId="3913551135" sldId="743"/>
            <ac:spMk id="118" creationId="{42752276-35F2-4455-B23C-6798F26C5A7A}"/>
          </ac:spMkLst>
        </pc:spChg>
        <pc:spChg chg="del">
          <ac:chgData name="Perez Diaz, Karen" userId="17027623-4de6-4c48-9453-394c2c5804f8" providerId="ADAL" clId="{0DCB131B-3EFE-42DC-9206-7151797C1B48}" dt="2021-01-06T20:49:04.412" v="920" actId="478"/>
          <ac:spMkLst>
            <pc:docMk/>
            <pc:sldMk cId="3913551135" sldId="743"/>
            <ac:spMk id="128" creationId="{1ABDDCE4-637E-40FD-BC59-07FA39387FA6}"/>
          </ac:spMkLst>
        </pc:spChg>
        <pc:grpChg chg="add del mod">
          <ac:chgData name="Perez Diaz, Karen" userId="17027623-4de6-4c48-9453-394c2c5804f8" providerId="ADAL" clId="{0DCB131B-3EFE-42DC-9206-7151797C1B48}" dt="2021-01-06T21:13:02.107" v="1168" actId="165"/>
          <ac:grpSpMkLst>
            <pc:docMk/>
            <pc:sldMk cId="3913551135" sldId="743"/>
            <ac:grpSpMk id="28" creationId="{5CEE5DF2-4846-49B8-B28E-70C972173D47}"/>
          </ac:grpSpMkLst>
        </pc:grpChg>
        <pc:grpChg chg="add mod">
          <ac:chgData name="Perez Diaz, Karen" userId="17027623-4de6-4c48-9453-394c2c5804f8" providerId="ADAL" clId="{0DCB131B-3EFE-42DC-9206-7151797C1B48}" dt="2021-01-06T21:25:20.150" v="1973" actId="164"/>
          <ac:grpSpMkLst>
            <pc:docMk/>
            <pc:sldMk cId="3913551135" sldId="743"/>
            <ac:grpSpMk id="39" creationId="{862329FD-D69F-4A5E-86CA-DBA09BB764F2}"/>
          </ac:grpSpMkLst>
        </pc:grpChg>
        <pc:grpChg chg="mod topLvl">
          <ac:chgData name="Perez Diaz, Karen" userId="17027623-4de6-4c48-9453-394c2c5804f8" providerId="ADAL" clId="{0DCB131B-3EFE-42DC-9206-7151797C1B48}" dt="2021-01-06T21:25:20.150" v="1973" actId="164"/>
          <ac:grpSpMkLst>
            <pc:docMk/>
            <pc:sldMk cId="3913551135" sldId="743"/>
            <ac:grpSpMk id="59" creationId="{C41B3DFB-F3AE-4D87-9B8C-C3589EDBC3BF}"/>
          </ac:grpSpMkLst>
        </pc:grpChg>
        <pc:grpChg chg="mod topLvl">
          <ac:chgData name="Perez Diaz, Karen" userId="17027623-4de6-4c48-9453-394c2c5804f8" providerId="ADAL" clId="{0DCB131B-3EFE-42DC-9206-7151797C1B48}" dt="2021-01-06T21:25:20.150" v="1973" actId="164"/>
          <ac:grpSpMkLst>
            <pc:docMk/>
            <pc:sldMk cId="3913551135" sldId="743"/>
            <ac:grpSpMk id="78" creationId="{3E8A4C4F-A5DA-49C4-926F-AEA5802E73DA}"/>
          </ac:grpSpMkLst>
        </pc:grpChg>
        <pc:cxnChg chg="mod topLvl">
          <ac:chgData name="Perez Diaz, Karen" userId="17027623-4de6-4c48-9453-394c2c5804f8" providerId="ADAL" clId="{0DCB131B-3EFE-42DC-9206-7151797C1B48}" dt="2021-01-06T21:25:20.150" v="1973" actId="164"/>
          <ac:cxnSpMkLst>
            <pc:docMk/>
            <pc:sldMk cId="3913551135" sldId="743"/>
            <ac:cxnSpMk id="38" creationId="{7F2776A2-55FA-4901-8D56-61F7EDBF5378}"/>
          </ac:cxnSpMkLst>
        </pc:cxnChg>
        <pc:cxnChg chg="mod">
          <ac:chgData name="Perez Diaz, Karen" userId="17027623-4de6-4c48-9453-394c2c5804f8" providerId="ADAL" clId="{0DCB131B-3EFE-42DC-9206-7151797C1B48}" dt="2021-01-06T20:49:39.411" v="944" actId="14100"/>
          <ac:cxnSpMkLst>
            <pc:docMk/>
            <pc:sldMk cId="3913551135" sldId="743"/>
            <ac:cxnSpMk id="40" creationId="{41BF7768-DCB4-4368-9877-C2C93FF91055}"/>
          </ac:cxnSpMkLst>
        </pc:cxnChg>
        <pc:cxnChg chg="mod">
          <ac:chgData name="Perez Diaz, Karen" userId="17027623-4de6-4c48-9453-394c2c5804f8" providerId="ADAL" clId="{0DCB131B-3EFE-42DC-9206-7151797C1B48}" dt="2021-01-06T20:49:44.112" v="945" actId="14100"/>
          <ac:cxnSpMkLst>
            <pc:docMk/>
            <pc:sldMk cId="3913551135" sldId="743"/>
            <ac:cxnSpMk id="42" creationId="{3D295E1E-2075-4B22-857E-FD03C60F7025}"/>
          </ac:cxnSpMkLst>
        </pc:cxnChg>
        <pc:cxnChg chg="mod topLvl">
          <ac:chgData name="Perez Diaz, Karen" userId="17027623-4de6-4c48-9453-394c2c5804f8" providerId="ADAL" clId="{0DCB131B-3EFE-42DC-9206-7151797C1B48}" dt="2021-01-06T21:25:20.150" v="1973" actId="164"/>
          <ac:cxnSpMkLst>
            <pc:docMk/>
            <pc:sldMk cId="3913551135" sldId="743"/>
            <ac:cxnSpMk id="47" creationId="{027D99D2-D61F-43DD-88D9-A764AB3F4C74}"/>
          </ac:cxnSpMkLst>
        </pc:cxnChg>
        <pc:cxnChg chg="mod">
          <ac:chgData name="Perez Diaz, Karen" userId="17027623-4de6-4c48-9453-394c2c5804f8" providerId="ADAL" clId="{0DCB131B-3EFE-42DC-9206-7151797C1B48}" dt="2021-01-06T20:50:02.363" v="957" actId="14100"/>
          <ac:cxnSpMkLst>
            <pc:docMk/>
            <pc:sldMk cId="3913551135" sldId="743"/>
            <ac:cxnSpMk id="49" creationId="{EB1E3269-08BD-4913-A0C9-43F30A56D799}"/>
          </ac:cxnSpMkLst>
        </pc:cxnChg>
        <pc:cxnChg chg="mod topLvl">
          <ac:chgData name="Perez Diaz, Karen" userId="17027623-4de6-4c48-9453-394c2c5804f8" providerId="ADAL" clId="{0DCB131B-3EFE-42DC-9206-7151797C1B48}" dt="2021-01-06T21:25:20.150" v="1973" actId="164"/>
          <ac:cxnSpMkLst>
            <pc:docMk/>
            <pc:sldMk cId="3913551135" sldId="743"/>
            <ac:cxnSpMk id="52" creationId="{9A801628-898B-4840-8337-E3F4FCEE2F10}"/>
          </ac:cxnSpMkLst>
        </pc:cxnChg>
        <pc:cxnChg chg="mod">
          <ac:chgData name="Perez Diaz, Karen" userId="17027623-4de6-4c48-9453-394c2c5804f8" providerId="ADAL" clId="{0DCB131B-3EFE-42DC-9206-7151797C1B48}" dt="2021-01-06T20:49:48.699" v="946" actId="14100"/>
          <ac:cxnSpMkLst>
            <pc:docMk/>
            <pc:sldMk cId="3913551135" sldId="743"/>
            <ac:cxnSpMk id="67" creationId="{BCC689C9-66DC-4DAB-980A-751E46C8B338}"/>
          </ac:cxnSpMkLst>
        </pc:cxnChg>
        <pc:cxnChg chg="add mod">
          <ac:chgData name="Perez Diaz, Karen" userId="17027623-4de6-4c48-9453-394c2c5804f8" providerId="ADAL" clId="{0DCB131B-3EFE-42DC-9206-7151797C1B48}" dt="2021-01-06T21:13:23.029" v="1171" actId="14100"/>
          <ac:cxnSpMkLst>
            <pc:docMk/>
            <pc:sldMk cId="3913551135" sldId="743"/>
            <ac:cxnSpMk id="88" creationId="{340277E7-77D7-44C4-8A6D-9E9B39940C01}"/>
          </ac:cxnSpMkLst>
        </pc:cxnChg>
        <pc:cxnChg chg="add mod">
          <ac:chgData name="Perez Diaz, Karen" userId="17027623-4de6-4c48-9453-394c2c5804f8" providerId="ADAL" clId="{0DCB131B-3EFE-42DC-9206-7151797C1B48}" dt="2021-01-06T21:13:23.029" v="1171" actId="14100"/>
          <ac:cxnSpMkLst>
            <pc:docMk/>
            <pc:sldMk cId="3913551135" sldId="743"/>
            <ac:cxnSpMk id="89" creationId="{2088E9D5-45B7-48FD-AA95-CBCCB9AEE078}"/>
          </ac:cxnSpMkLst>
        </pc:cxnChg>
        <pc:cxnChg chg="add mod">
          <ac:chgData name="Perez Diaz, Karen" userId="17027623-4de6-4c48-9453-394c2c5804f8" providerId="ADAL" clId="{0DCB131B-3EFE-42DC-9206-7151797C1B48}" dt="2021-01-06T21:13:23.029" v="1171" actId="14100"/>
          <ac:cxnSpMkLst>
            <pc:docMk/>
            <pc:sldMk cId="3913551135" sldId="743"/>
            <ac:cxnSpMk id="90" creationId="{B034C546-F845-44E2-9AAA-B2FDEB6000F0}"/>
          </ac:cxnSpMkLst>
        </pc:cxnChg>
        <pc:cxnChg chg="add mod">
          <ac:chgData name="Perez Diaz, Karen" userId="17027623-4de6-4c48-9453-394c2c5804f8" providerId="ADAL" clId="{0DCB131B-3EFE-42DC-9206-7151797C1B48}" dt="2021-01-06T21:13:23.029" v="1171" actId="14100"/>
          <ac:cxnSpMkLst>
            <pc:docMk/>
            <pc:sldMk cId="3913551135" sldId="743"/>
            <ac:cxnSpMk id="91" creationId="{0C8B1F21-6E44-4282-80CB-A481070041F3}"/>
          </ac:cxnSpMkLst>
        </pc:cxnChg>
        <pc:cxnChg chg="mod">
          <ac:chgData name="Perez Diaz, Karen" userId="17027623-4de6-4c48-9453-394c2c5804f8" providerId="ADAL" clId="{0DCB131B-3EFE-42DC-9206-7151797C1B48}" dt="2021-01-06T20:52:31.746" v="1025" actId="14100"/>
          <ac:cxnSpMkLst>
            <pc:docMk/>
            <pc:sldMk cId="3913551135" sldId="743"/>
            <ac:cxnSpMk id="127" creationId="{70FC9D0E-23B7-4805-9408-10A2CC1928CB}"/>
          </ac:cxnSpMkLst>
        </pc:cxnChg>
        <pc:cxnChg chg="del mod">
          <ac:chgData name="Perez Diaz, Karen" userId="17027623-4de6-4c48-9453-394c2c5804f8" providerId="ADAL" clId="{0DCB131B-3EFE-42DC-9206-7151797C1B48}" dt="2021-01-06T20:49:06.216" v="921" actId="478"/>
          <ac:cxnSpMkLst>
            <pc:docMk/>
            <pc:sldMk cId="3913551135" sldId="743"/>
            <ac:cxnSpMk id="151" creationId="{DDBE657C-AC66-455B-8C66-456C193C55A9}"/>
          </ac:cxnSpMkLst>
        </pc:cxnChg>
        <pc:cxnChg chg="mod">
          <ac:chgData name="Perez Diaz, Karen" userId="17027623-4de6-4c48-9453-394c2c5804f8" providerId="ADAL" clId="{0DCB131B-3EFE-42DC-9206-7151797C1B48}" dt="2021-01-06T20:50:56.206" v="990" actId="14100"/>
          <ac:cxnSpMkLst>
            <pc:docMk/>
            <pc:sldMk cId="3913551135" sldId="743"/>
            <ac:cxnSpMk id="154" creationId="{B8C55DC1-E75A-49E4-8B2D-210BEFBDC56D}"/>
          </ac:cxnSpMkLst>
        </pc:cxnChg>
      </pc:sldChg>
      <pc:sldChg chg="addSp delSp modSp add del ord">
        <pc:chgData name="Perez Diaz, Karen" userId="17027623-4de6-4c48-9453-394c2c5804f8" providerId="ADAL" clId="{0DCB131B-3EFE-42DC-9206-7151797C1B48}" dt="2021-01-06T21:48:04.164" v="2285" actId="2696"/>
        <pc:sldMkLst>
          <pc:docMk/>
          <pc:sldMk cId="4089723545" sldId="744"/>
        </pc:sldMkLst>
        <pc:spChg chg="mod">
          <ac:chgData name="Perez Diaz, Karen" userId="17027623-4de6-4c48-9453-394c2c5804f8" providerId="ADAL" clId="{0DCB131B-3EFE-42DC-9206-7151797C1B48}" dt="2021-01-06T18:18:32.186" v="667" actId="13926"/>
          <ac:spMkLst>
            <pc:docMk/>
            <pc:sldMk cId="4089723545" sldId="744"/>
            <ac:spMk id="2" creationId="{EEB2DB48-F55E-46AE-9540-691925464E4C}"/>
          </ac:spMkLst>
        </pc:spChg>
        <pc:spChg chg="mod">
          <ac:chgData name="Perez Diaz, Karen" userId="17027623-4de6-4c48-9453-394c2c5804f8" providerId="ADAL" clId="{0DCB131B-3EFE-42DC-9206-7151797C1B48}" dt="2021-01-06T17:37:41.219" v="5" actId="164"/>
          <ac:spMkLst>
            <pc:docMk/>
            <pc:sldMk cId="4089723545" sldId="744"/>
            <ac:spMk id="6" creationId="{46EE6365-81AD-4FCA-A5B9-4F4D0C586289}"/>
          </ac:spMkLst>
        </pc:spChg>
        <pc:spChg chg="mod">
          <ac:chgData name="Perez Diaz, Karen" userId="17027623-4de6-4c48-9453-394c2c5804f8" providerId="ADAL" clId="{0DCB131B-3EFE-42DC-9206-7151797C1B48}" dt="2021-01-06T17:37:41.219" v="5" actId="164"/>
          <ac:spMkLst>
            <pc:docMk/>
            <pc:sldMk cId="4089723545" sldId="744"/>
            <ac:spMk id="7" creationId="{CBBEE985-DFA9-4335-84E8-9CC49B0EB534}"/>
          </ac:spMkLst>
        </pc:spChg>
        <pc:spChg chg="mod">
          <ac:chgData name="Perez Diaz, Karen" userId="17027623-4de6-4c48-9453-394c2c5804f8" providerId="ADAL" clId="{0DCB131B-3EFE-42DC-9206-7151797C1B48}" dt="2021-01-06T17:37:41.219" v="5" actId="164"/>
          <ac:spMkLst>
            <pc:docMk/>
            <pc:sldMk cId="4089723545" sldId="744"/>
            <ac:spMk id="8" creationId="{0AEC7480-7499-442D-9B7F-9286FAFB0818}"/>
          </ac:spMkLst>
        </pc:spChg>
        <pc:spChg chg="mod">
          <ac:chgData name="Perez Diaz, Karen" userId="17027623-4de6-4c48-9453-394c2c5804f8" providerId="ADAL" clId="{0DCB131B-3EFE-42DC-9206-7151797C1B48}" dt="2021-01-06T17:37:41.219" v="5" actId="164"/>
          <ac:spMkLst>
            <pc:docMk/>
            <pc:sldMk cId="4089723545" sldId="744"/>
            <ac:spMk id="9" creationId="{AD31964D-E5E9-49A2-B1C4-DFCAC54C0BAF}"/>
          </ac:spMkLst>
        </pc:spChg>
        <pc:spChg chg="mod">
          <ac:chgData name="Perez Diaz, Karen" userId="17027623-4de6-4c48-9453-394c2c5804f8" providerId="ADAL" clId="{0DCB131B-3EFE-42DC-9206-7151797C1B48}" dt="2021-01-06T17:37:41.219" v="5" actId="164"/>
          <ac:spMkLst>
            <pc:docMk/>
            <pc:sldMk cId="4089723545" sldId="744"/>
            <ac:spMk id="10" creationId="{EE9C9ED5-ABCE-4FDB-86CF-FDFC75DD74BD}"/>
          </ac:spMkLst>
        </pc:spChg>
        <pc:spChg chg="mod">
          <ac:chgData name="Perez Diaz, Karen" userId="17027623-4de6-4c48-9453-394c2c5804f8" providerId="ADAL" clId="{0DCB131B-3EFE-42DC-9206-7151797C1B48}" dt="2021-01-06T17:37:41.219" v="5" actId="164"/>
          <ac:spMkLst>
            <pc:docMk/>
            <pc:sldMk cId="4089723545" sldId="744"/>
            <ac:spMk id="11" creationId="{728DB449-6AC5-415B-AD63-6D253B91B5F8}"/>
          </ac:spMkLst>
        </pc:spChg>
        <pc:spChg chg="mod">
          <ac:chgData name="Perez Diaz, Karen" userId="17027623-4de6-4c48-9453-394c2c5804f8" providerId="ADAL" clId="{0DCB131B-3EFE-42DC-9206-7151797C1B48}" dt="2021-01-06T17:37:41.219" v="5" actId="164"/>
          <ac:spMkLst>
            <pc:docMk/>
            <pc:sldMk cId="4089723545" sldId="744"/>
            <ac:spMk id="12" creationId="{FE80D894-D049-4249-89C3-2CB429A7EF23}"/>
          </ac:spMkLst>
        </pc:spChg>
        <pc:spChg chg="mod">
          <ac:chgData name="Perez Diaz, Karen" userId="17027623-4de6-4c48-9453-394c2c5804f8" providerId="ADAL" clId="{0DCB131B-3EFE-42DC-9206-7151797C1B48}" dt="2021-01-06T17:37:41.219" v="5" actId="164"/>
          <ac:spMkLst>
            <pc:docMk/>
            <pc:sldMk cId="4089723545" sldId="744"/>
            <ac:spMk id="14" creationId="{F6B3E33B-279A-4B57-A0C7-AFD4CB2BA78F}"/>
          </ac:spMkLst>
        </pc:spChg>
        <pc:spChg chg="mod topLvl">
          <ac:chgData name="Perez Diaz, Karen" userId="17027623-4de6-4c48-9453-394c2c5804f8" providerId="ADAL" clId="{0DCB131B-3EFE-42DC-9206-7151797C1B48}" dt="2021-01-06T18:09:30.664" v="485" actId="164"/>
          <ac:spMkLst>
            <pc:docMk/>
            <pc:sldMk cId="4089723545" sldId="744"/>
            <ac:spMk id="16" creationId="{0A6DB9FC-2790-49F5-96BC-671A635F376F}"/>
          </ac:spMkLst>
        </pc:spChg>
        <pc:spChg chg="mod topLvl">
          <ac:chgData name="Perez Diaz, Karen" userId="17027623-4de6-4c48-9453-394c2c5804f8" providerId="ADAL" clId="{0DCB131B-3EFE-42DC-9206-7151797C1B48}" dt="2021-01-06T18:09:30.664" v="485" actId="164"/>
          <ac:spMkLst>
            <pc:docMk/>
            <pc:sldMk cId="4089723545" sldId="744"/>
            <ac:spMk id="32" creationId="{C23CAF40-5081-4672-BB4F-CE5D10092D0A}"/>
          </ac:spMkLst>
        </pc:spChg>
        <pc:spChg chg="mod topLvl">
          <ac:chgData name="Perez Diaz, Karen" userId="17027623-4de6-4c48-9453-394c2c5804f8" providerId="ADAL" clId="{0DCB131B-3EFE-42DC-9206-7151797C1B48}" dt="2021-01-06T18:09:30.664" v="485" actId="164"/>
          <ac:spMkLst>
            <pc:docMk/>
            <pc:sldMk cId="4089723545" sldId="744"/>
            <ac:spMk id="33" creationId="{EA2C1C74-8715-4291-B19D-B1A652C9088A}"/>
          </ac:spMkLst>
        </pc:spChg>
        <pc:spChg chg="mod topLvl">
          <ac:chgData name="Perez Diaz, Karen" userId="17027623-4de6-4c48-9453-394c2c5804f8" providerId="ADAL" clId="{0DCB131B-3EFE-42DC-9206-7151797C1B48}" dt="2021-01-06T18:09:30.664" v="485" actId="164"/>
          <ac:spMkLst>
            <pc:docMk/>
            <pc:sldMk cId="4089723545" sldId="744"/>
            <ac:spMk id="34" creationId="{382E8A01-BEF3-48DC-8ADF-624A68CB482B}"/>
          </ac:spMkLst>
        </pc:spChg>
        <pc:spChg chg="mod">
          <ac:chgData name="Perez Diaz, Karen" userId="17027623-4de6-4c48-9453-394c2c5804f8" providerId="ADAL" clId="{0DCB131B-3EFE-42DC-9206-7151797C1B48}" dt="2021-01-06T17:37:41.219" v="5" actId="164"/>
          <ac:spMkLst>
            <pc:docMk/>
            <pc:sldMk cId="4089723545" sldId="744"/>
            <ac:spMk id="36" creationId="{B1C07FB1-E4F7-46B0-9153-B6C0A2878CC2}"/>
          </ac:spMkLst>
        </pc:spChg>
        <pc:spChg chg="mod topLvl">
          <ac:chgData name="Perez Diaz, Karen" userId="17027623-4de6-4c48-9453-394c2c5804f8" providerId="ADAL" clId="{0DCB131B-3EFE-42DC-9206-7151797C1B48}" dt="2021-01-06T18:09:30.664" v="485" actId="164"/>
          <ac:spMkLst>
            <pc:docMk/>
            <pc:sldMk cId="4089723545" sldId="744"/>
            <ac:spMk id="45" creationId="{3343FEFB-7C1D-4798-BA26-F401C7045C50}"/>
          </ac:spMkLst>
        </pc:spChg>
        <pc:spChg chg="mod topLvl">
          <ac:chgData name="Perez Diaz, Karen" userId="17027623-4de6-4c48-9453-394c2c5804f8" providerId="ADAL" clId="{0DCB131B-3EFE-42DC-9206-7151797C1B48}" dt="2021-01-06T18:09:30.664" v="485" actId="164"/>
          <ac:spMkLst>
            <pc:docMk/>
            <pc:sldMk cId="4089723545" sldId="744"/>
            <ac:spMk id="69" creationId="{D660A072-DFBB-4936-95BF-01DEE4F7CF2D}"/>
          </ac:spMkLst>
        </pc:spChg>
        <pc:grpChg chg="add del mod">
          <ac:chgData name="Perez Diaz, Karen" userId="17027623-4de6-4c48-9453-394c2c5804f8" providerId="ADAL" clId="{0DCB131B-3EFE-42DC-9206-7151797C1B48}" dt="2021-01-06T17:58:25.614" v="38" actId="165"/>
          <ac:grpSpMkLst>
            <pc:docMk/>
            <pc:sldMk cId="4089723545" sldId="744"/>
            <ac:grpSpMk id="15" creationId="{9D5BA82D-073F-4D43-86D0-4C335F32F463}"/>
          </ac:grpSpMkLst>
        </pc:grpChg>
        <pc:grpChg chg="add mod">
          <ac:chgData name="Perez Diaz, Karen" userId="17027623-4de6-4c48-9453-394c2c5804f8" providerId="ADAL" clId="{0DCB131B-3EFE-42DC-9206-7151797C1B48}" dt="2021-01-06T17:50:43.789" v="23" actId="1076"/>
          <ac:grpSpMkLst>
            <pc:docMk/>
            <pc:sldMk cId="4089723545" sldId="744"/>
            <ac:grpSpMk id="21" creationId="{9736C0EE-C9EE-4772-97F7-673F11D6133B}"/>
          </ac:grpSpMkLst>
        </pc:grpChg>
        <pc:grpChg chg="add mod">
          <ac:chgData name="Perez Diaz, Karen" userId="17027623-4de6-4c48-9453-394c2c5804f8" providerId="ADAL" clId="{0DCB131B-3EFE-42DC-9206-7151797C1B48}" dt="2021-01-06T17:42:30.040" v="10" actId="164"/>
          <ac:grpSpMkLst>
            <pc:docMk/>
            <pc:sldMk cId="4089723545" sldId="744"/>
            <ac:grpSpMk id="22" creationId="{85CA8EE1-6367-4D3D-B253-0EA799F20909}"/>
          </ac:grpSpMkLst>
        </pc:grpChg>
        <pc:grpChg chg="mod topLvl">
          <ac:chgData name="Perez Diaz, Karen" userId="17027623-4de6-4c48-9453-394c2c5804f8" providerId="ADAL" clId="{0DCB131B-3EFE-42DC-9206-7151797C1B48}" dt="2021-01-06T18:09:30.664" v="485" actId="164"/>
          <ac:grpSpMkLst>
            <pc:docMk/>
            <pc:sldMk cId="4089723545" sldId="744"/>
            <ac:grpSpMk id="26" creationId="{899AB3C6-D04B-467B-80AD-71290C5FD607}"/>
          </ac:grpSpMkLst>
        </pc:grpChg>
        <pc:grpChg chg="add mod">
          <ac:chgData name="Perez Diaz, Karen" userId="17027623-4de6-4c48-9453-394c2c5804f8" providerId="ADAL" clId="{0DCB131B-3EFE-42DC-9206-7151797C1B48}" dt="2021-01-06T17:43:59.059" v="15" actId="164"/>
          <ac:grpSpMkLst>
            <pc:docMk/>
            <pc:sldMk cId="4089723545" sldId="744"/>
            <ac:grpSpMk id="28" creationId="{22621D3A-9F3E-4143-80D0-0A10674423AD}"/>
          </ac:grpSpMkLst>
        </pc:grpChg>
        <pc:grpChg chg="mod topLvl">
          <ac:chgData name="Perez Diaz, Karen" userId="17027623-4de6-4c48-9453-394c2c5804f8" providerId="ADAL" clId="{0DCB131B-3EFE-42DC-9206-7151797C1B48}" dt="2021-01-06T18:09:30.664" v="485" actId="164"/>
          <ac:grpSpMkLst>
            <pc:docMk/>
            <pc:sldMk cId="4089723545" sldId="744"/>
            <ac:grpSpMk id="59" creationId="{C41B3DFB-F3AE-4D87-9B8C-C3589EDBC3BF}"/>
          </ac:grpSpMkLst>
        </pc:grpChg>
        <pc:grpChg chg="add mod">
          <ac:chgData name="Perez Diaz, Karen" userId="17027623-4de6-4c48-9453-394c2c5804f8" providerId="ADAL" clId="{0DCB131B-3EFE-42DC-9206-7151797C1B48}" dt="2021-01-06T18:09:30.664" v="485" actId="164"/>
          <ac:grpSpMkLst>
            <pc:docMk/>
            <pc:sldMk cId="4089723545" sldId="744"/>
            <ac:grpSpMk id="83" creationId="{7BAF1810-A318-430F-98AC-74350D69F458}"/>
          </ac:grpSpMkLst>
        </pc:grpChg>
        <pc:grpChg chg="mod">
          <ac:chgData name="Perez Diaz, Karen" userId="17027623-4de6-4c48-9453-394c2c5804f8" providerId="ADAL" clId="{0DCB131B-3EFE-42DC-9206-7151797C1B48}" dt="2021-01-06T17:37:41.219" v="5" actId="164"/>
          <ac:grpSpMkLst>
            <pc:docMk/>
            <pc:sldMk cId="4089723545" sldId="744"/>
            <ac:grpSpMk id="217" creationId="{9E5C4412-7EC4-487F-854E-0A306D3FA7D8}"/>
          </ac:grpSpMkLst>
        </pc:grpChg>
        <pc:cxnChg chg="mod">
          <ac:chgData name="Perez Diaz, Karen" userId="17027623-4de6-4c48-9453-394c2c5804f8" providerId="ADAL" clId="{0DCB131B-3EFE-42DC-9206-7151797C1B48}" dt="2021-01-06T17:37:41.219" v="5" actId="164"/>
          <ac:cxnSpMkLst>
            <pc:docMk/>
            <pc:sldMk cId="4089723545" sldId="744"/>
            <ac:cxnSpMk id="20" creationId="{348D7C3F-B83C-43A8-9D28-CCC9C4BBB069}"/>
          </ac:cxnSpMkLst>
        </pc:cxnChg>
        <pc:cxnChg chg="mod">
          <ac:chgData name="Perez Diaz, Karen" userId="17027623-4de6-4c48-9453-394c2c5804f8" providerId="ADAL" clId="{0DCB131B-3EFE-42DC-9206-7151797C1B48}" dt="2021-01-06T17:37:41.219" v="5" actId="164"/>
          <ac:cxnSpMkLst>
            <pc:docMk/>
            <pc:sldMk cId="4089723545" sldId="744"/>
            <ac:cxnSpMk id="25" creationId="{0FD92F1F-404B-4B75-922F-DC7CBDD99712}"/>
          </ac:cxnSpMkLst>
        </pc:cxnChg>
        <pc:cxnChg chg="mod">
          <ac:chgData name="Perez Diaz, Karen" userId="17027623-4de6-4c48-9453-394c2c5804f8" providerId="ADAL" clId="{0DCB131B-3EFE-42DC-9206-7151797C1B48}" dt="2021-01-06T17:37:41.219" v="5" actId="164"/>
          <ac:cxnSpMkLst>
            <pc:docMk/>
            <pc:sldMk cId="4089723545" sldId="744"/>
            <ac:cxnSpMk id="27" creationId="{241AE13A-CC4B-4DEF-B58D-790536D65968}"/>
          </ac:cxnSpMkLst>
        </pc:cxnChg>
        <pc:cxnChg chg="mod">
          <ac:chgData name="Perez Diaz, Karen" userId="17027623-4de6-4c48-9453-394c2c5804f8" providerId="ADAL" clId="{0DCB131B-3EFE-42DC-9206-7151797C1B48}" dt="2021-01-06T17:37:41.219" v="5" actId="164"/>
          <ac:cxnSpMkLst>
            <pc:docMk/>
            <pc:sldMk cId="4089723545" sldId="744"/>
            <ac:cxnSpMk id="31" creationId="{8FEF314A-9932-4F10-8E0C-6B6DF5F71CD9}"/>
          </ac:cxnSpMkLst>
        </pc:cxnChg>
        <pc:cxnChg chg="mod topLvl">
          <ac:chgData name="Perez Diaz, Karen" userId="17027623-4de6-4c48-9453-394c2c5804f8" providerId="ADAL" clId="{0DCB131B-3EFE-42DC-9206-7151797C1B48}" dt="2021-01-06T18:09:30.664" v="485" actId="164"/>
          <ac:cxnSpMkLst>
            <pc:docMk/>
            <pc:sldMk cId="4089723545" sldId="744"/>
            <ac:cxnSpMk id="38" creationId="{7F2776A2-55FA-4901-8D56-61F7EDBF5378}"/>
          </ac:cxnSpMkLst>
        </pc:cxnChg>
        <pc:cxnChg chg="mod">
          <ac:chgData name="Perez Diaz, Karen" userId="17027623-4de6-4c48-9453-394c2c5804f8" providerId="ADAL" clId="{0DCB131B-3EFE-42DC-9206-7151797C1B48}" dt="2021-01-06T18:05:51.725" v="348" actId="14100"/>
          <ac:cxnSpMkLst>
            <pc:docMk/>
            <pc:sldMk cId="4089723545" sldId="744"/>
            <ac:cxnSpMk id="40" creationId="{41BF7768-DCB4-4368-9877-C2C93FF91055}"/>
          </ac:cxnSpMkLst>
        </pc:cxnChg>
        <pc:cxnChg chg="mod">
          <ac:chgData name="Perez Diaz, Karen" userId="17027623-4de6-4c48-9453-394c2c5804f8" providerId="ADAL" clId="{0DCB131B-3EFE-42DC-9206-7151797C1B48}" dt="2021-01-06T18:06:39.051" v="388" actId="1038"/>
          <ac:cxnSpMkLst>
            <pc:docMk/>
            <pc:sldMk cId="4089723545" sldId="744"/>
            <ac:cxnSpMk id="42" creationId="{3D295E1E-2075-4B22-857E-FD03C60F7025}"/>
          </ac:cxnSpMkLst>
        </pc:cxnChg>
        <pc:cxnChg chg="mod">
          <ac:chgData name="Perez Diaz, Karen" userId="17027623-4de6-4c48-9453-394c2c5804f8" providerId="ADAL" clId="{0DCB131B-3EFE-42DC-9206-7151797C1B48}" dt="2021-01-06T18:22:06.989" v="732" actId="1037"/>
          <ac:cxnSpMkLst>
            <pc:docMk/>
            <pc:sldMk cId="4089723545" sldId="744"/>
            <ac:cxnSpMk id="44" creationId="{687E4B6D-A892-4E39-B6A9-A12D460436C1}"/>
          </ac:cxnSpMkLst>
        </pc:cxnChg>
        <pc:cxnChg chg="mod topLvl">
          <ac:chgData name="Perez Diaz, Karen" userId="17027623-4de6-4c48-9453-394c2c5804f8" providerId="ADAL" clId="{0DCB131B-3EFE-42DC-9206-7151797C1B48}" dt="2021-01-06T18:09:30.664" v="485" actId="164"/>
          <ac:cxnSpMkLst>
            <pc:docMk/>
            <pc:sldMk cId="4089723545" sldId="744"/>
            <ac:cxnSpMk id="47" creationId="{027D99D2-D61F-43DD-88D9-A764AB3F4C74}"/>
          </ac:cxnSpMkLst>
        </pc:cxnChg>
        <pc:cxnChg chg="mod">
          <ac:chgData name="Perez Diaz, Karen" userId="17027623-4de6-4c48-9453-394c2c5804f8" providerId="ADAL" clId="{0DCB131B-3EFE-42DC-9206-7151797C1B48}" dt="2021-01-06T18:05:28.070" v="343" actId="14100"/>
          <ac:cxnSpMkLst>
            <pc:docMk/>
            <pc:sldMk cId="4089723545" sldId="744"/>
            <ac:cxnSpMk id="49" creationId="{EB1E3269-08BD-4913-A0C9-43F30A56D799}"/>
          </ac:cxnSpMkLst>
        </pc:cxnChg>
        <pc:cxnChg chg="mod topLvl">
          <ac:chgData name="Perez Diaz, Karen" userId="17027623-4de6-4c48-9453-394c2c5804f8" providerId="ADAL" clId="{0DCB131B-3EFE-42DC-9206-7151797C1B48}" dt="2021-01-06T18:09:30.664" v="485" actId="164"/>
          <ac:cxnSpMkLst>
            <pc:docMk/>
            <pc:sldMk cId="4089723545" sldId="744"/>
            <ac:cxnSpMk id="52" creationId="{9A801628-898B-4840-8337-E3F4FCEE2F10}"/>
          </ac:cxnSpMkLst>
        </pc:cxnChg>
        <pc:cxnChg chg="mod">
          <ac:chgData name="Perez Diaz, Karen" userId="17027623-4de6-4c48-9453-394c2c5804f8" providerId="ADAL" clId="{0DCB131B-3EFE-42DC-9206-7151797C1B48}" dt="2021-01-06T17:37:41.219" v="5" actId="164"/>
          <ac:cxnSpMkLst>
            <pc:docMk/>
            <pc:sldMk cId="4089723545" sldId="744"/>
            <ac:cxnSpMk id="65" creationId="{9F79DEE4-32EB-4954-BB88-47EAFD90F0F2}"/>
          </ac:cxnSpMkLst>
        </pc:cxnChg>
        <pc:cxnChg chg="mod">
          <ac:chgData name="Perez Diaz, Karen" userId="17027623-4de6-4c48-9453-394c2c5804f8" providerId="ADAL" clId="{0DCB131B-3EFE-42DC-9206-7151797C1B48}" dt="2021-01-06T18:06:25.258" v="379" actId="1036"/>
          <ac:cxnSpMkLst>
            <pc:docMk/>
            <pc:sldMk cId="4089723545" sldId="744"/>
            <ac:cxnSpMk id="67" creationId="{BCC689C9-66DC-4DAB-980A-751E46C8B338}"/>
          </ac:cxnSpMkLst>
        </pc:cxnChg>
        <pc:cxnChg chg="mod topLvl">
          <ac:chgData name="Perez Diaz, Karen" userId="17027623-4de6-4c48-9453-394c2c5804f8" providerId="ADAL" clId="{0DCB131B-3EFE-42DC-9206-7151797C1B48}" dt="2021-01-06T18:09:30.664" v="485" actId="164"/>
          <ac:cxnSpMkLst>
            <pc:docMk/>
            <pc:sldMk cId="4089723545" sldId="744"/>
            <ac:cxnSpMk id="170" creationId="{22C87227-5D49-40A2-A3BC-8592EC3CD579}"/>
          </ac:cxnSpMkLst>
        </pc:cxnChg>
        <pc:cxnChg chg="mod">
          <ac:chgData name="Perez Diaz, Karen" userId="17027623-4de6-4c48-9453-394c2c5804f8" providerId="ADAL" clId="{0DCB131B-3EFE-42DC-9206-7151797C1B48}" dt="2021-01-06T17:37:41.219" v="5" actId="164"/>
          <ac:cxnSpMkLst>
            <pc:docMk/>
            <pc:sldMk cId="4089723545" sldId="744"/>
            <ac:cxnSpMk id="203" creationId="{C8A4CE5A-2494-44D7-B7F2-6D9571F3E921}"/>
          </ac:cxnSpMkLst>
        </pc:cxnChg>
      </pc:sldChg>
      <pc:sldChg chg="addSp delSp modSp add del ord">
        <pc:chgData name="Perez Diaz, Karen" userId="17027623-4de6-4c48-9453-394c2c5804f8" providerId="ADAL" clId="{0DCB131B-3EFE-42DC-9206-7151797C1B48}" dt="2021-01-06T21:48:00.819" v="2284" actId="2696"/>
        <pc:sldMkLst>
          <pc:docMk/>
          <pc:sldMk cId="3432332875" sldId="745"/>
        </pc:sldMkLst>
        <pc:spChg chg="mod">
          <ac:chgData name="Perez Diaz, Karen" userId="17027623-4de6-4c48-9453-394c2c5804f8" providerId="ADAL" clId="{0DCB131B-3EFE-42DC-9206-7151797C1B48}" dt="2021-01-06T18:18:39.762" v="674" actId="20577"/>
          <ac:spMkLst>
            <pc:docMk/>
            <pc:sldMk cId="3432332875" sldId="745"/>
            <ac:spMk id="2" creationId="{EEB2DB48-F55E-46AE-9540-691925464E4C}"/>
          </ac:spMkLst>
        </pc:spChg>
        <pc:spChg chg="mod">
          <ac:chgData name="Perez Diaz, Karen" userId="17027623-4de6-4c48-9453-394c2c5804f8" providerId="ADAL" clId="{0DCB131B-3EFE-42DC-9206-7151797C1B48}" dt="2021-01-06T18:10:21.983" v="531" actId="164"/>
          <ac:spMkLst>
            <pc:docMk/>
            <pc:sldMk cId="3432332875" sldId="745"/>
            <ac:spMk id="6" creationId="{46EE6365-81AD-4FCA-A5B9-4F4D0C586289}"/>
          </ac:spMkLst>
        </pc:spChg>
        <pc:spChg chg="mod">
          <ac:chgData name="Perez Diaz, Karen" userId="17027623-4de6-4c48-9453-394c2c5804f8" providerId="ADAL" clId="{0DCB131B-3EFE-42DC-9206-7151797C1B48}" dt="2021-01-06T18:10:06.838" v="489" actId="164"/>
          <ac:spMkLst>
            <pc:docMk/>
            <pc:sldMk cId="3432332875" sldId="745"/>
            <ac:spMk id="7" creationId="{CBBEE985-DFA9-4335-84E8-9CC49B0EB534}"/>
          </ac:spMkLst>
        </pc:spChg>
        <pc:spChg chg="mod">
          <ac:chgData name="Perez Diaz, Karen" userId="17027623-4de6-4c48-9453-394c2c5804f8" providerId="ADAL" clId="{0DCB131B-3EFE-42DC-9206-7151797C1B48}" dt="2021-01-06T18:10:06.838" v="489" actId="164"/>
          <ac:spMkLst>
            <pc:docMk/>
            <pc:sldMk cId="3432332875" sldId="745"/>
            <ac:spMk id="8" creationId="{0AEC7480-7499-442D-9B7F-9286FAFB0818}"/>
          </ac:spMkLst>
        </pc:spChg>
        <pc:spChg chg="mod">
          <ac:chgData name="Perez Diaz, Karen" userId="17027623-4de6-4c48-9453-394c2c5804f8" providerId="ADAL" clId="{0DCB131B-3EFE-42DC-9206-7151797C1B48}" dt="2021-01-06T18:10:06.838" v="489" actId="164"/>
          <ac:spMkLst>
            <pc:docMk/>
            <pc:sldMk cId="3432332875" sldId="745"/>
            <ac:spMk id="9" creationId="{AD31964D-E5E9-49A2-B1C4-DFCAC54C0BAF}"/>
          </ac:spMkLst>
        </pc:spChg>
        <pc:spChg chg="mod">
          <ac:chgData name="Perez Diaz, Karen" userId="17027623-4de6-4c48-9453-394c2c5804f8" providerId="ADAL" clId="{0DCB131B-3EFE-42DC-9206-7151797C1B48}" dt="2021-01-06T18:10:06.838" v="489" actId="164"/>
          <ac:spMkLst>
            <pc:docMk/>
            <pc:sldMk cId="3432332875" sldId="745"/>
            <ac:spMk id="10" creationId="{EE9C9ED5-ABCE-4FDB-86CF-FDFC75DD74BD}"/>
          </ac:spMkLst>
        </pc:spChg>
        <pc:spChg chg="mod">
          <ac:chgData name="Perez Diaz, Karen" userId="17027623-4de6-4c48-9453-394c2c5804f8" providerId="ADAL" clId="{0DCB131B-3EFE-42DC-9206-7151797C1B48}" dt="2021-01-06T18:10:06.838" v="489" actId="164"/>
          <ac:spMkLst>
            <pc:docMk/>
            <pc:sldMk cId="3432332875" sldId="745"/>
            <ac:spMk id="11" creationId="{728DB449-6AC5-415B-AD63-6D253B91B5F8}"/>
          </ac:spMkLst>
        </pc:spChg>
        <pc:spChg chg="mod">
          <ac:chgData name="Perez Diaz, Karen" userId="17027623-4de6-4c48-9453-394c2c5804f8" providerId="ADAL" clId="{0DCB131B-3EFE-42DC-9206-7151797C1B48}" dt="2021-01-06T18:10:06.838" v="489" actId="164"/>
          <ac:spMkLst>
            <pc:docMk/>
            <pc:sldMk cId="3432332875" sldId="745"/>
            <ac:spMk id="12" creationId="{FE80D894-D049-4249-89C3-2CB429A7EF23}"/>
          </ac:spMkLst>
        </pc:spChg>
        <pc:spChg chg="mod">
          <ac:chgData name="Perez Diaz, Karen" userId="17027623-4de6-4c48-9453-394c2c5804f8" providerId="ADAL" clId="{0DCB131B-3EFE-42DC-9206-7151797C1B48}" dt="2021-01-06T18:10:06.838" v="489" actId="164"/>
          <ac:spMkLst>
            <pc:docMk/>
            <pc:sldMk cId="3432332875" sldId="745"/>
            <ac:spMk id="14" creationId="{F6B3E33B-279A-4B57-A0C7-AFD4CB2BA78F}"/>
          </ac:spMkLst>
        </pc:spChg>
        <pc:spChg chg="del">
          <ac:chgData name="Perez Diaz, Karen" userId="17027623-4de6-4c48-9453-394c2c5804f8" providerId="ADAL" clId="{0DCB131B-3EFE-42DC-9206-7151797C1B48}" dt="2021-01-06T18:09:40.632" v="487" actId="478"/>
          <ac:spMkLst>
            <pc:docMk/>
            <pc:sldMk cId="3432332875" sldId="745"/>
            <ac:spMk id="16" creationId="{0A6DB9FC-2790-49F5-96BC-671A635F376F}"/>
          </ac:spMkLst>
        </pc:spChg>
        <pc:spChg chg="del">
          <ac:chgData name="Perez Diaz, Karen" userId="17027623-4de6-4c48-9453-394c2c5804f8" providerId="ADAL" clId="{0DCB131B-3EFE-42DC-9206-7151797C1B48}" dt="2021-01-06T18:09:40.632" v="487" actId="478"/>
          <ac:spMkLst>
            <pc:docMk/>
            <pc:sldMk cId="3432332875" sldId="745"/>
            <ac:spMk id="32" creationId="{C23CAF40-5081-4672-BB4F-CE5D10092D0A}"/>
          </ac:spMkLst>
        </pc:spChg>
        <pc:spChg chg="del">
          <ac:chgData name="Perez Diaz, Karen" userId="17027623-4de6-4c48-9453-394c2c5804f8" providerId="ADAL" clId="{0DCB131B-3EFE-42DC-9206-7151797C1B48}" dt="2021-01-06T18:09:40.632" v="487" actId="478"/>
          <ac:spMkLst>
            <pc:docMk/>
            <pc:sldMk cId="3432332875" sldId="745"/>
            <ac:spMk id="33" creationId="{EA2C1C74-8715-4291-B19D-B1A652C9088A}"/>
          </ac:spMkLst>
        </pc:spChg>
        <pc:spChg chg="del">
          <ac:chgData name="Perez Diaz, Karen" userId="17027623-4de6-4c48-9453-394c2c5804f8" providerId="ADAL" clId="{0DCB131B-3EFE-42DC-9206-7151797C1B48}" dt="2021-01-06T18:09:40.632" v="487" actId="478"/>
          <ac:spMkLst>
            <pc:docMk/>
            <pc:sldMk cId="3432332875" sldId="745"/>
            <ac:spMk id="34" creationId="{382E8A01-BEF3-48DC-8ADF-624A68CB482B}"/>
          </ac:spMkLst>
        </pc:spChg>
        <pc:spChg chg="mod">
          <ac:chgData name="Perez Diaz, Karen" userId="17027623-4de6-4c48-9453-394c2c5804f8" providerId="ADAL" clId="{0DCB131B-3EFE-42DC-9206-7151797C1B48}" dt="2021-01-06T18:10:06.838" v="489" actId="164"/>
          <ac:spMkLst>
            <pc:docMk/>
            <pc:sldMk cId="3432332875" sldId="745"/>
            <ac:spMk id="36" creationId="{B1C07FB1-E4F7-46B0-9153-B6C0A2878CC2}"/>
          </ac:spMkLst>
        </pc:spChg>
        <pc:spChg chg="del">
          <ac:chgData name="Perez Diaz, Karen" userId="17027623-4de6-4c48-9453-394c2c5804f8" providerId="ADAL" clId="{0DCB131B-3EFE-42DC-9206-7151797C1B48}" dt="2021-01-06T18:09:37.002" v="486" actId="478"/>
          <ac:spMkLst>
            <pc:docMk/>
            <pc:sldMk cId="3432332875" sldId="745"/>
            <ac:spMk id="45" creationId="{3343FEFB-7C1D-4798-BA26-F401C7045C50}"/>
          </ac:spMkLst>
        </pc:spChg>
        <pc:spChg chg="mod">
          <ac:chgData name="Perez Diaz, Karen" userId="17027623-4de6-4c48-9453-394c2c5804f8" providerId="ADAL" clId="{0DCB131B-3EFE-42DC-9206-7151797C1B48}" dt="2021-01-06T18:20:06.590" v="701" actId="1036"/>
          <ac:spMkLst>
            <pc:docMk/>
            <pc:sldMk cId="3432332875" sldId="745"/>
            <ac:spMk id="51" creationId="{D8309F17-C82C-4EB0-83D1-B21D09B3C1AE}"/>
          </ac:spMkLst>
        </pc:spChg>
        <pc:spChg chg="mod">
          <ac:chgData name="Perez Diaz, Karen" userId="17027623-4de6-4c48-9453-394c2c5804f8" providerId="ADAL" clId="{0DCB131B-3EFE-42DC-9206-7151797C1B48}" dt="2021-01-06T18:20:20.854" v="706" actId="1035"/>
          <ac:spMkLst>
            <pc:docMk/>
            <pc:sldMk cId="3432332875" sldId="745"/>
            <ac:spMk id="53" creationId="{A96ED489-E4D2-4C2A-A0CA-011B28259160}"/>
          </ac:spMkLst>
        </pc:spChg>
        <pc:spChg chg="mod">
          <ac:chgData name="Perez Diaz, Karen" userId="17027623-4de6-4c48-9453-394c2c5804f8" providerId="ADAL" clId="{0DCB131B-3EFE-42DC-9206-7151797C1B48}" dt="2021-01-06T18:20:27.243" v="709" actId="1035"/>
          <ac:spMkLst>
            <pc:docMk/>
            <pc:sldMk cId="3432332875" sldId="745"/>
            <ac:spMk id="54" creationId="{145AD034-4FBD-4001-BE6B-55CBB1097D44}"/>
          </ac:spMkLst>
        </pc:spChg>
        <pc:spChg chg="mod">
          <ac:chgData name="Perez Diaz, Karen" userId="17027623-4de6-4c48-9453-394c2c5804f8" providerId="ADAL" clId="{0DCB131B-3EFE-42DC-9206-7151797C1B48}" dt="2021-01-06T18:20:27.243" v="709" actId="1035"/>
          <ac:spMkLst>
            <pc:docMk/>
            <pc:sldMk cId="3432332875" sldId="745"/>
            <ac:spMk id="56" creationId="{7712ABA7-5E5F-4307-8A3E-1B769689DCE0}"/>
          </ac:spMkLst>
        </pc:spChg>
        <pc:spChg chg="mod">
          <ac:chgData name="Perez Diaz, Karen" userId="17027623-4de6-4c48-9453-394c2c5804f8" providerId="ADAL" clId="{0DCB131B-3EFE-42DC-9206-7151797C1B48}" dt="2021-01-06T18:19:38.416" v="688" actId="1036"/>
          <ac:spMkLst>
            <pc:docMk/>
            <pc:sldMk cId="3432332875" sldId="745"/>
            <ac:spMk id="58" creationId="{7F4B5AAA-0867-41C7-AF87-85C4112B3E8C}"/>
          </ac:spMkLst>
        </pc:spChg>
        <pc:spChg chg="mod">
          <ac:chgData name="Perez Diaz, Karen" userId="17027623-4de6-4c48-9453-394c2c5804f8" providerId="ADAL" clId="{0DCB131B-3EFE-42DC-9206-7151797C1B48}" dt="2021-01-06T18:19:38.416" v="688" actId="1036"/>
          <ac:spMkLst>
            <pc:docMk/>
            <pc:sldMk cId="3432332875" sldId="745"/>
            <ac:spMk id="64" creationId="{FCC3EBC2-9D0D-47EA-B152-51B9C42AFCE8}"/>
          </ac:spMkLst>
        </pc:spChg>
        <pc:spChg chg="mod">
          <ac:chgData name="Perez Diaz, Karen" userId="17027623-4de6-4c48-9453-394c2c5804f8" providerId="ADAL" clId="{0DCB131B-3EFE-42DC-9206-7151797C1B48}" dt="2021-01-06T18:19:38.416" v="688" actId="1036"/>
          <ac:spMkLst>
            <pc:docMk/>
            <pc:sldMk cId="3432332875" sldId="745"/>
            <ac:spMk id="68" creationId="{8297072D-5A85-4366-B2F8-CF75DDD93FCF}"/>
          </ac:spMkLst>
        </pc:spChg>
        <pc:spChg chg="del">
          <ac:chgData name="Perez Diaz, Karen" userId="17027623-4de6-4c48-9453-394c2c5804f8" providerId="ADAL" clId="{0DCB131B-3EFE-42DC-9206-7151797C1B48}" dt="2021-01-06T18:09:37.002" v="486" actId="478"/>
          <ac:spMkLst>
            <pc:docMk/>
            <pc:sldMk cId="3432332875" sldId="745"/>
            <ac:spMk id="69" creationId="{D660A072-DFBB-4936-95BF-01DEE4F7CF2D}"/>
          </ac:spMkLst>
        </pc:spChg>
        <pc:spChg chg="mod">
          <ac:chgData name="Perez Diaz, Karen" userId="17027623-4de6-4c48-9453-394c2c5804f8" providerId="ADAL" clId="{0DCB131B-3EFE-42DC-9206-7151797C1B48}" dt="2021-01-06T18:20:06.590" v="701" actId="1036"/>
          <ac:spMkLst>
            <pc:docMk/>
            <pc:sldMk cId="3432332875" sldId="745"/>
            <ac:spMk id="74" creationId="{A978716B-E8B2-441F-A5A9-2A2F11559D2E}"/>
          </ac:spMkLst>
        </pc:spChg>
        <pc:spChg chg="mod">
          <ac:chgData name="Perez Diaz, Karen" userId="17027623-4de6-4c48-9453-394c2c5804f8" providerId="ADAL" clId="{0DCB131B-3EFE-42DC-9206-7151797C1B48}" dt="2021-01-06T18:20:06.590" v="701" actId="1036"/>
          <ac:spMkLst>
            <pc:docMk/>
            <pc:sldMk cId="3432332875" sldId="745"/>
            <ac:spMk id="75" creationId="{A4E9BBFC-D47C-4A4B-9668-6FDA060324CE}"/>
          </ac:spMkLst>
        </pc:spChg>
        <pc:spChg chg="mod topLvl">
          <ac:chgData name="Perez Diaz, Karen" userId="17027623-4de6-4c48-9453-394c2c5804f8" providerId="ADAL" clId="{0DCB131B-3EFE-42DC-9206-7151797C1B48}" dt="2021-01-06T19:48:32.747" v="819" actId="1036"/>
          <ac:spMkLst>
            <pc:docMk/>
            <pc:sldMk cId="3432332875" sldId="745"/>
            <ac:spMk id="93" creationId="{792E0B45-1391-4BC6-8986-26E404F3B518}"/>
          </ac:spMkLst>
        </pc:spChg>
        <pc:spChg chg="mod topLvl">
          <ac:chgData name="Perez Diaz, Karen" userId="17027623-4de6-4c48-9453-394c2c5804f8" providerId="ADAL" clId="{0DCB131B-3EFE-42DC-9206-7151797C1B48}" dt="2021-01-06T19:48:32.747" v="819" actId="1036"/>
          <ac:spMkLst>
            <pc:docMk/>
            <pc:sldMk cId="3432332875" sldId="745"/>
            <ac:spMk id="94" creationId="{40842276-A91A-40C2-B4E1-59432F9A3A28}"/>
          </ac:spMkLst>
        </pc:spChg>
        <pc:spChg chg="mod topLvl">
          <ac:chgData name="Perez Diaz, Karen" userId="17027623-4de6-4c48-9453-394c2c5804f8" providerId="ADAL" clId="{0DCB131B-3EFE-42DC-9206-7151797C1B48}" dt="2021-01-06T19:48:32.747" v="819" actId="1036"/>
          <ac:spMkLst>
            <pc:docMk/>
            <pc:sldMk cId="3432332875" sldId="745"/>
            <ac:spMk id="95" creationId="{2EEF3D7B-0209-45A3-8234-DF5C3A5823AE}"/>
          </ac:spMkLst>
        </pc:spChg>
        <pc:spChg chg="mod topLvl">
          <ac:chgData name="Perez Diaz, Karen" userId="17027623-4de6-4c48-9453-394c2c5804f8" providerId="ADAL" clId="{0DCB131B-3EFE-42DC-9206-7151797C1B48}" dt="2021-01-06T19:48:40.948" v="821" actId="1037"/>
          <ac:spMkLst>
            <pc:docMk/>
            <pc:sldMk cId="3432332875" sldId="745"/>
            <ac:spMk id="96" creationId="{F9AACBE0-D4FE-40D6-8E00-40DDF636A60D}"/>
          </ac:spMkLst>
        </pc:spChg>
        <pc:spChg chg="mod topLvl">
          <ac:chgData name="Perez Diaz, Karen" userId="17027623-4de6-4c48-9453-394c2c5804f8" providerId="ADAL" clId="{0DCB131B-3EFE-42DC-9206-7151797C1B48}" dt="2021-01-06T19:48:32.747" v="819" actId="1036"/>
          <ac:spMkLst>
            <pc:docMk/>
            <pc:sldMk cId="3432332875" sldId="745"/>
            <ac:spMk id="98" creationId="{EFE86654-5D76-41A0-8C66-6E4B2C321E95}"/>
          </ac:spMkLst>
        </pc:spChg>
        <pc:spChg chg="mod topLvl">
          <ac:chgData name="Perez Diaz, Karen" userId="17027623-4de6-4c48-9453-394c2c5804f8" providerId="ADAL" clId="{0DCB131B-3EFE-42DC-9206-7151797C1B48}" dt="2021-01-06T19:48:32.747" v="819" actId="1036"/>
          <ac:spMkLst>
            <pc:docMk/>
            <pc:sldMk cId="3432332875" sldId="745"/>
            <ac:spMk id="103" creationId="{05030A7C-7089-4C44-9D97-0A4A960E7D44}"/>
          </ac:spMkLst>
        </pc:spChg>
        <pc:spChg chg="del">
          <ac:chgData name="Perez Diaz, Karen" userId="17027623-4de6-4c48-9453-394c2c5804f8" providerId="ADAL" clId="{0DCB131B-3EFE-42DC-9206-7151797C1B48}" dt="2021-01-06T18:07:20.404" v="409" actId="478"/>
          <ac:spMkLst>
            <pc:docMk/>
            <pc:sldMk cId="3432332875" sldId="745"/>
            <ac:spMk id="104" creationId="{D7DBCDAE-E439-4C13-AB0B-B49695AB8EC9}"/>
          </ac:spMkLst>
        </pc:spChg>
        <pc:spChg chg="mod">
          <ac:chgData name="Perez Diaz, Karen" userId="17027623-4de6-4c48-9453-394c2c5804f8" providerId="ADAL" clId="{0DCB131B-3EFE-42DC-9206-7151797C1B48}" dt="2021-01-06T18:19:38.416" v="688" actId="1036"/>
          <ac:spMkLst>
            <pc:docMk/>
            <pc:sldMk cId="3432332875" sldId="745"/>
            <ac:spMk id="111" creationId="{BFE84C98-41FA-487B-9228-92CF6F468B5E}"/>
          </ac:spMkLst>
        </pc:spChg>
        <pc:spChg chg="mod">
          <ac:chgData name="Perez Diaz, Karen" userId="17027623-4de6-4c48-9453-394c2c5804f8" providerId="ADAL" clId="{0DCB131B-3EFE-42DC-9206-7151797C1B48}" dt="2021-01-06T18:19:38.416" v="688" actId="1036"/>
          <ac:spMkLst>
            <pc:docMk/>
            <pc:sldMk cId="3432332875" sldId="745"/>
            <ac:spMk id="118" creationId="{42752276-35F2-4455-B23C-6798F26C5A7A}"/>
          </ac:spMkLst>
        </pc:spChg>
        <pc:spChg chg="add mod ord">
          <ac:chgData name="Perez Diaz, Karen" userId="17027623-4de6-4c48-9453-394c2c5804f8" providerId="ADAL" clId="{0DCB131B-3EFE-42DC-9206-7151797C1B48}" dt="2021-01-06T19:46:41.489" v="752" actId="14100"/>
          <ac:spMkLst>
            <pc:docMk/>
            <pc:sldMk cId="3432332875" sldId="745"/>
            <ac:spMk id="123" creationId="{FC29B034-AF17-4B3B-AB22-B23A8DC79CE6}"/>
          </ac:spMkLst>
        </pc:spChg>
        <pc:spChg chg="add mod">
          <ac:chgData name="Perez Diaz, Karen" userId="17027623-4de6-4c48-9453-394c2c5804f8" providerId="ADAL" clId="{0DCB131B-3EFE-42DC-9206-7151797C1B48}" dt="2021-01-06T19:48:13.567" v="809" actId="1037"/>
          <ac:spMkLst>
            <pc:docMk/>
            <pc:sldMk cId="3432332875" sldId="745"/>
            <ac:spMk id="124" creationId="{1ECA2753-F0C9-48A2-8D58-3F7CE2326C07}"/>
          </ac:spMkLst>
        </pc:spChg>
        <pc:spChg chg="del">
          <ac:chgData name="Perez Diaz, Karen" userId="17027623-4de6-4c48-9453-394c2c5804f8" providerId="ADAL" clId="{0DCB131B-3EFE-42DC-9206-7151797C1B48}" dt="2021-01-06T18:07:23.041" v="410" actId="478"/>
          <ac:spMkLst>
            <pc:docMk/>
            <pc:sldMk cId="3432332875" sldId="745"/>
            <ac:spMk id="128" creationId="{1ABDDCE4-637E-40FD-BC59-07FA39387FA6}"/>
          </ac:spMkLst>
        </pc:spChg>
        <pc:grpChg chg="add mod">
          <ac:chgData name="Perez Diaz, Karen" userId="17027623-4de6-4c48-9453-394c2c5804f8" providerId="ADAL" clId="{0DCB131B-3EFE-42DC-9206-7151797C1B48}" dt="2021-01-06T18:08:09.089" v="435" actId="164"/>
          <ac:grpSpMkLst>
            <pc:docMk/>
            <pc:sldMk cId="3432332875" sldId="745"/>
            <ac:grpSpMk id="3" creationId="{7CBA4DB8-010E-4BA3-B095-695D031EEAA2}"/>
          </ac:grpSpMkLst>
        </pc:grpChg>
        <pc:grpChg chg="add mod">
          <ac:chgData name="Perez Diaz, Karen" userId="17027623-4de6-4c48-9453-394c2c5804f8" providerId="ADAL" clId="{0DCB131B-3EFE-42DC-9206-7151797C1B48}" dt="2021-01-06T18:08:08.026" v="434" actId="164"/>
          <ac:grpSpMkLst>
            <pc:docMk/>
            <pc:sldMk cId="3432332875" sldId="745"/>
            <ac:grpSpMk id="5" creationId="{72B42278-531B-4180-9E45-C1210854CCBC}"/>
          </ac:grpSpMkLst>
        </pc:grpChg>
        <pc:grpChg chg="mod">
          <ac:chgData name="Perez Diaz, Karen" userId="17027623-4de6-4c48-9453-394c2c5804f8" providerId="ADAL" clId="{0DCB131B-3EFE-42DC-9206-7151797C1B48}" dt="2021-01-06T18:10:06.838" v="489" actId="164"/>
          <ac:grpSpMkLst>
            <pc:docMk/>
            <pc:sldMk cId="3432332875" sldId="745"/>
            <ac:grpSpMk id="23" creationId="{755A2DB1-C309-48AF-94F4-5B3B10482411}"/>
          </ac:grpSpMkLst>
        </pc:grpChg>
        <pc:grpChg chg="add mod">
          <ac:chgData name="Perez Diaz, Karen" userId="17027623-4de6-4c48-9453-394c2c5804f8" providerId="ADAL" clId="{0DCB131B-3EFE-42DC-9206-7151797C1B48}" dt="2021-01-06T18:10:21.983" v="531" actId="164"/>
          <ac:grpSpMkLst>
            <pc:docMk/>
            <pc:sldMk cId="3432332875" sldId="745"/>
            <ac:grpSpMk id="28" creationId="{28CDEEFF-6901-489B-A613-600C6B9418BC}"/>
          </ac:grpSpMkLst>
        </pc:grpChg>
        <pc:grpChg chg="add mod">
          <ac:chgData name="Perez Diaz, Karen" userId="17027623-4de6-4c48-9453-394c2c5804f8" providerId="ADAL" clId="{0DCB131B-3EFE-42DC-9206-7151797C1B48}" dt="2021-01-06T21:14:47.780" v="1217" actId="1037"/>
          <ac:grpSpMkLst>
            <pc:docMk/>
            <pc:sldMk cId="3432332875" sldId="745"/>
            <ac:grpSpMk id="29" creationId="{5E07E4C3-ED30-4A2B-B1DD-79C6CB2E3EEF}"/>
          </ac:grpSpMkLst>
        </pc:grpChg>
        <pc:grpChg chg="mod">
          <ac:chgData name="Perez Diaz, Karen" userId="17027623-4de6-4c48-9453-394c2c5804f8" providerId="ADAL" clId="{0DCB131B-3EFE-42DC-9206-7151797C1B48}" dt="2021-01-06T18:10:06.838" v="489" actId="164"/>
          <ac:grpSpMkLst>
            <pc:docMk/>
            <pc:sldMk cId="3432332875" sldId="745"/>
            <ac:grpSpMk id="50" creationId="{E5F6E99E-A091-44B0-81F0-D7F7252F34E2}"/>
          </ac:grpSpMkLst>
        </pc:grpChg>
        <pc:grpChg chg="del">
          <ac:chgData name="Perez Diaz, Karen" userId="17027623-4de6-4c48-9453-394c2c5804f8" providerId="ADAL" clId="{0DCB131B-3EFE-42DC-9206-7151797C1B48}" dt="2021-01-06T18:09:40.632" v="487" actId="478"/>
          <ac:grpSpMkLst>
            <pc:docMk/>
            <pc:sldMk cId="3432332875" sldId="745"/>
            <ac:grpSpMk id="59" creationId="{C41B3DFB-F3AE-4D87-9B8C-C3589EDBC3BF}"/>
          </ac:grpSpMkLst>
        </pc:grpChg>
        <pc:grpChg chg="del">
          <ac:chgData name="Perez Diaz, Karen" userId="17027623-4de6-4c48-9453-394c2c5804f8" providerId="ADAL" clId="{0DCB131B-3EFE-42DC-9206-7151797C1B48}" dt="2021-01-06T18:09:37.002" v="486" actId="478"/>
          <ac:grpSpMkLst>
            <pc:docMk/>
            <pc:sldMk cId="3432332875" sldId="745"/>
            <ac:grpSpMk id="78" creationId="{3E8A4C4F-A5DA-49C4-926F-AEA5802E73DA}"/>
          </ac:grpSpMkLst>
        </pc:grpChg>
        <pc:grpChg chg="add del mod">
          <ac:chgData name="Perez Diaz, Karen" userId="17027623-4de6-4c48-9453-394c2c5804f8" providerId="ADAL" clId="{0DCB131B-3EFE-42DC-9206-7151797C1B48}" dt="2021-01-06T19:48:20.186" v="810" actId="165"/>
          <ac:grpSpMkLst>
            <pc:docMk/>
            <pc:sldMk cId="3432332875" sldId="745"/>
            <ac:grpSpMk id="92" creationId="{A2ABB6F1-740D-4010-A7A5-07E93454DF24}"/>
          </ac:grpSpMkLst>
        </pc:grpChg>
        <pc:grpChg chg="mod topLvl">
          <ac:chgData name="Perez Diaz, Karen" userId="17027623-4de6-4c48-9453-394c2c5804f8" providerId="ADAL" clId="{0DCB131B-3EFE-42DC-9206-7151797C1B48}" dt="2021-01-06T19:48:32.747" v="819" actId="1036"/>
          <ac:grpSpMkLst>
            <pc:docMk/>
            <pc:sldMk cId="3432332875" sldId="745"/>
            <ac:grpSpMk id="102" creationId="{DD622DB8-D90E-4F14-BE73-0A6AFF5BBC35}"/>
          </ac:grpSpMkLst>
        </pc:grpChg>
        <pc:grpChg chg="mod topLvl">
          <ac:chgData name="Perez Diaz, Karen" userId="17027623-4de6-4c48-9453-394c2c5804f8" providerId="ADAL" clId="{0DCB131B-3EFE-42DC-9206-7151797C1B48}" dt="2021-01-06T19:48:20.186" v="810" actId="165"/>
          <ac:grpSpMkLst>
            <pc:docMk/>
            <pc:sldMk cId="3432332875" sldId="745"/>
            <ac:grpSpMk id="105" creationId="{2965B370-0DED-44F4-BCC7-DC8E04585A08}"/>
          </ac:grpSpMkLst>
        </pc:grpChg>
        <pc:grpChg chg="mod">
          <ac:chgData name="Perez Diaz, Karen" userId="17027623-4de6-4c48-9453-394c2c5804f8" providerId="ADAL" clId="{0DCB131B-3EFE-42DC-9206-7151797C1B48}" dt="2021-01-06T18:10:06.838" v="489" actId="164"/>
          <ac:grpSpMkLst>
            <pc:docMk/>
            <pc:sldMk cId="3432332875" sldId="745"/>
            <ac:grpSpMk id="112" creationId="{925BB652-1C8E-44A9-8838-7AC45563CE70}"/>
          </ac:grpSpMkLst>
        </pc:grpChg>
        <pc:cxnChg chg="mod">
          <ac:chgData name="Perez Diaz, Karen" userId="17027623-4de6-4c48-9453-394c2c5804f8" providerId="ADAL" clId="{0DCB131B-3EFE-42DC-9206-7151797C1B48}" dt="2021-01-06T18:10:06.838" v="489" actId="164"/>
          <ac:cxnSpMkLst>
            <pc:docMk/>
            <pc:sldMk cId="3432332875" sldId="745"/>
            <ac:cxnSpMk id="20" creationId="{348D7C3F-B83C-43A8-9D28-CCC9C4BBB069}"/>
          </ac:cxnSpMkLst>
        </pc:cxnChg>
        <pc:cxnChg chg="mod">
          <ac:chgData name="Perez Diaz, Karen" userId="17027623-4de6-4c48-9453-394c2c5804f8" providerId="ADAL" clId="{0DCB131B-3EFE-42DC-9206-7151797C1B48}" dt="2021-01-06T18:10:06.838" v="489" actId="164"/>
          <ac:cxnSpMkLst>
            <pc:docMk/>
            <pc:sldMk cId="3432332875" sldId="745"/>
            <ac:cxnSpMk id="25" creationId="{0FD92F1F-404B-4B75-922F-DC7CBDD99712}"/>
          </ac:cxnSpMkLst>
        </pc:cxnChg>
        <pc:cxnChg chg="mod">
          <ac:chgData name="Perez Diaz, Karen" userId="17027623-4de6-4c48-9453-394c2c5804f8" providerId="ADAL" clId="{0DCB131B-3EFE-42DC-9206-7151797C1B48}" dt="2021-01-06T18:10:06.838" v="489" actId="164"/>
          <ac:cxnSpMkLst>
            <pc:docMk/>
            <pc:sldMk cId="3432332875" sldId="745"/>
            <ac:cxnSpMk id="27" creationId="{241AE13A-CC4B-4DEF-B58D-790536D65968}"/>
          </ac:cxnSpMkLst>
        </pc:cxnChg>
        <pc:cxnChg chg="mod">
          <ac:chgData name="Perez Diaz, Karen" userId="17027623-4de6-4c48-9453-394c2c5804f8" providerId="ADAL" clId="{0DCB131B-3EFE-42DC-9206-7151797C1B48}" dt="2021-01-06T18:10:06.838" v="489" actId="164"/>
          <ac:cxnSpMkLst>
            <pc:docMk/>
            <pc:sldMk cId="3432332875" sldId="745"/>
            <ac:cxnSpMk id="31" creationId="{8FEF314A-9932-4F10-8E0C-6B6DF5F71CD9}"/>
          </ac:cxnSpMkLst>
        </pc:cxnChg>
        <pc:cxnChg chg="del mod">
          <ac:chgData name="Perez Diaz, Karen" userId="17027623-4de6-4c48-9453-394c2c5804f8" providerId="ADAL" clId="{0DCB131B-3EFE-42DC-9206-7151797C1B48}" dt="2021-01-06T18:09:37.002" v="486" actId="478"/>
          <ac:cxnSpMkLst>
            <pc:docMk/>
            <pc:sldMk cId="3432332875" sldId="745"/>
            <ac:cxnSpMk id="38" creationId="{7F2776A2-55FA-4901-8D56-61F7EDBF5378}"/>
          </ac:cxnSpMkLst>
        </pc:cxnChg>
        <pc:cxnChg chg="del mod">
          <ac:chgData name="Perez Diaz, Karen" userId="17027623-4de6-4c48-9453-394c2c5804f8" providerId="ADAL" clId="{0DCB131B-3EFE-42DC-9206-7151797C1B48}" dt="2021-01-06T18:17:36.768" v="662" actId="478"/>
          <ac:cxnSpMkLst>
            <pc:docMk/>
            <pc:sldMk cId="3432332875" sldId="745"/>
            <ac:cxnSpMk id="40" creationId="{41BF7768-DCB4-4368-9877-C2C93FF91055}"/>
          </ac:cxnSpMkLst>
        </pc:cxnChg>
        <pc:cxnChg chg="del mod">
          <ac:chgData name="Perez Diaz, Karen" userId="17027623-4de6-4c48-9453-394c2c5804f8" providerId="ADAL" clId="{0DCB131B-3EFE-42DC-9206-7151797C1B48}" dt="2021-01-06T18:17:37.759" v="663" actId="478"/>
          <ac:cxnSpMkLst>
            <pc:docMk/>
            <pc:sldMk cId="3432332875" sldId="745"/>
            <ac:cxnSpMk id="42" creationId="{3D295E1E-2075-4B22-857E-FD03C60F7025}"/>
          </ac:cxnSpMkLst>
        </pc:cxnChg>
        <pc:cxnChg chg="del mod">
          <ac:chgData name="Perez Diaz, Karen" userId="17027623-4de6-4c48-9453-394c2c5804f8" providerId="ADAL" clId="{0DCB131B-3EFE-42DC-9206-7151797C1B48}" dt="2021-01-06T18:09:37.002" v="486" actId="478"/>
          <ac:cxnSpMkLst>
            <pc:docMk/>
            <pc:sldMk cId="3432332875" sldId="745"/>
            <ac:cxnSpMk id="47" creationId="{027D99D2-D61F-43DD-88D9-A764AB3F4C74}"/>
          </ac:cxnSpMkLst>
        </pc:cxnChg>
        <pc:cxnChg chg="del mod">
          <ac:chgData name="Perez Diaz, Karen" userId="17027623-4de6-4c48-9453-394c2c5804f8" providerId="ADAL" clId="{0DCB131B-3EFE-42DC-9206-7151797C1B48}" dt="2021-01-06T18:17:39.231" v="665" actId="478"/>
          <ac:cxnSpMkLst>
            <pc:docMk/>
            <pc:sldMk cId="3432332875" sldId="745"/>
            <ac:cxnSpMk id="49" creationId="{EB1E3269-08BD-4913-A0C9-43F30A56D799}"/>
          </ac:cxnSpMkLst>
        </pc:cxnChg>
        <pc:cxnChg chg="del mod">
          <ac:chgData name="Perez Diaz, Karen" userId="17027623-4de6-4c48-9453-394c2c5804f8" providerId="ADAL" clId="{0DCB131B-3EFE-42DC-9206-7151797C1B48}" dt="2021-01-06T18:09:37.002" v="486" actId="478"/>
          <ac:cxnSpMkLst>
            <pc:docMk/>
            <pc:sldMk cId="3432332875" sldId="745"/>
            <ac:cxnSpMk id="52" creationId="{9A801628-898B-4840-8337-E3F4FCEE2F10}"/>
          </ac:cxnSpMkLst>
        </pc:cxnChg>
        <pc:cxnChg chg="mod">
          <ac:chgData name="Perez Diaz, Karen" userId="17027623-4de6-4c48-9453-394c2c5804f8" providerId="ADAL" clId="{0DCB131B-3EFE-42DC-9206-7151797C1B48}" dt="2021-01-06T18:10:06.838" v="489" actId="164"/>
          <ac:cxnSpMkLst>
            <pc:docMk/>
            <pc:sldMk cId="3432332875" sldId="745"/>
            <ac:cxnSpMk id="65" creationId="{9F79DEE4-32EB-4954-BB88-47EAFD90F0F2}"/>
          </ac:cxnSpMkLst>
        </pc:cxnChg>
        <pc:cxnChg chg="del mod">
          <ac:chgData name="Perez Diaz, Karen" userId="17027623-4de6-4c48-9453-394c2c5804f8" providerId="ADAL" clId="{0DCB131B-3EFE-42DC-9206-7151797C1B48}" dt="2021-01-06T18:17:38.559" v="664" actId="478"/>
          <ac:cxnSpMkLst>
            <pc:docMk/>
            <pc:sldMk cId="3432332875" sldId="745"/>
            <ac:cxnSpMk id="67" creationId="{BCC689C9-66DC-4DAB-980A-751E46C8B338}"/>
          </ac:cxnSpMkLst>
        </pc:cxnChg>
        <pc:cxnChg chg="mod">
          <ac:chgData name="Perez Diaz, Karen" userId="17027623-4de6-4c48-9453-394c2c5804f8" providerId="ADAL" clId="{0DCB131B-3EFE-42DC-9206-7151797C1B48}" dt="2021-01-06T18:20:06.590" v="701" actId="1036"/>
          <ac:cxnSpMkLst>
            <pc:docMk/>
            <pc:sldMk cId="3432332875" sldId="745"/>
            <ac:cxnSpMk id="77" creationId="{314B6B92-81D6-44CF-9D1E-2622F4B5CE26}"/>
          </ac:cxnSpMkLst>
        </pc:cxnChg>
        <pc:cxnChg chg="mod">
          <ac:chgData name="Perez Diaz, Karen" userId="17027623-4de6-4c48-9453-394c2c5804f8" providerId="ADAL" clId="{0DCB131B-3EFE-42DC-9206-7151797C1B48}" dt="2021-01-06T18:20:06.590" v="701" actId="1036"/>
          <ac:cxnSpMkLst>
            <pc:docMk/>
            <pc:sldMk cId="3432332875" sldId="745"/>
            <ac:cxnSpMk id="81" creationId="{55DB8148-7A1C-4214-95EB-96B315914489}"/>
          </ac:cxnSpMkLst>
        </pc:cxnChg>
        <pc:cxnChg chg="mod">
          <ac:chgData name="Perez Diaz, Karen" userId="17027623-4de6-4c48-9453-394c2c5804f8" providerId="ADAL" clId="{0DCB131B-3EFE-42DC-9206-7151797C1B48}" dt="2021-01-06T18:20:15.671" v="703" actId="14100"/>
          <ac:cxnSpMkLst>
            <pc:docMk/>
            <pc:sldMk cId="3432332875" sldId="745"/>
            <ac:cxnSpMk id="84" creationId="{AADD1580-86CE-41C9-929B-AFF18F97AB28}"/>
          </ac:cxnSpMkLst>
        </pc:cxnChg>
        <pc:cxnChg chg="mod">
          <ac:chgData name="Perez Diaz, Karen" userId="17027623-4de6-4c48-9453-394c2c5804f8" providerId="ADAL" clId="{0DCB131B-3EFE-42DC-9206-7151797C1B48}" dt="2021-01-06T18:20:13.100" v="702" actId="14100"/>
          <ac:cxnSpMkLst>
            <pc:docMk/>
            <pc:sldMk cId="3432332875" sldId="745"/>
            <ac:cxnSpMk id="87" creationId="{8CAD02B0-10A2-42DD-9545-75B043F5409C}"/>
          </ac:cxnSpMkLst>
        </pc:cxnChg>
        <pc:cxnChg chg="add mod">
          <ac:chgData name="Perez Diaz, Karen" userId="17027623-4de6-4c48-9453-394c2c5804f8" providerId="ADAL" clId="{0DCB131B-3EFE-42DC-9206-7151797C1B48}" dt="2021-01-06T21:14:47.780" v="1217" actId="1037"/>
          <ac:cxnSpMkLst>
            <pc:docMk/>
            <pc:sldMk cId="3432332875" sldId="745"/>
            <ac:cxnSpMk id="88" creationId="{20BFF8FF-A9AC-42B3-9E16-51EEF5013E4F}"/>
          </ac:cxnSpMkLst>
        </pc:cxnChg>
        <pc:cxnChg chg="add mod">
          <ac:chgData name="Perez Diaz, Karen" userId="17027623-4de6-4c48-9453-394c2c5804f8" providerId="ADAL" clId="{0DCB131B-3EFE-42DC-9206-7151797C1B48}" dt="2021-01-06T21:14:47.780" v="1217" actId="1037"/>
          <ac:cxnSpMkLst>
            <pc:docMk/>
            <pc:sldMk cId="3432332875" sldId="745"/>
            <ac:cxnSpMk id="89" creationId="{F6D0CAB7-E7FA-45CA-BA27-E6415FBC3475}"/>
          </ac:cxnSpMkLst>
        </pc:cxnChg>
        <pc:cxnChg chg="add mod">
          <ac:chgData name="Perez Diaz, Karen" userId="17027623-4de6-4c48-9453-394c2c5804f8" providerId="ADAL" clId="{0DCB131B-3EFE-42DC-9206-7151797C1B48}" dt="2021-01-06T21:14:47.780" v="1217" actId="1037"/>
          <ac:cxnSpMkLst>
            <pc:docMk/>
            <pc:sldMk cId="3432332875" sldId="745"/>
            <ac:cxnSpMk id="90" creationId="{22F02368-4E4D-4EAB-AD3D-C2A7672DF70E}"/>
          </ac:cxnSpMkLst>
        </pc:cxnChg>
        <pc:cxnChg chg="add mod">
          <ac:chgData name="Perez Diaz, Karen" userId="17027623-4de6-4c48-9453-394c2c5804f8" providerId="ADAL" clId="{0DCB131B-3EFE-42DC-9206-7151797C1B48}" dt="2021-01-06T21:14:47.780" v="1217" actId="1037"/>
          <ac:cxnSpMkLst>
            <pc:docMk/>
            <pc:sldMk cId="3432332875" sldId="745"/>
            <ac:cxnSpMk id="91" creationId="{2511CA12-2B29-4674-9F12-2D791F8D8A4F}"/>
          </ac:cxnSpMkLst>
        </pc:cxnChg>
        <pc:cxnChg chg="mod topLvl">
          <ac:chgData name="Perez Diaz, Karen" userId="17027623-4de6-4c48-9453-394c2c5804f8" providerId="ADAL" clId="{0DCB131B-3EFE-42DC-9206-7151797C1B48}" dt="2021-01-06T19:48:32.747" v="819" actId="1036"/>
          <ac:cxnSpMkLst>
            <pc:docMk/>
            <pc:sldMk cId="3432332875" sldId="745"/>
            <ac:cxnSpMk id="97" creationId="{58DDC82B-EB20-47E0-A6EB-37432190550A}"/>
          </ac:cxnSpMkLst>
        </pc:cxnChg>
        <pc:cxnChg chg="mod topLvl">
          <ac:chgData name="Perez Diaz, Karen" userId="17027623-4de6-4c48-9453-394c2c5804f8" providerId="ADAL" clId="{0DCB131B-3EFE-42DC-9206-7151797C1B48}" dt="2021-01-06T19:48:32.747" v="819" actId="1036"/>
          <ac:cxnSpMkLst>
            <pc:docMk/>
            <pc:sldMk cId="3432332875" sldId="745"/>
            <ac:cxnSpMk id="99" creationId="{4FA0C0ED-18E5-4A98-A616-A33DDBBCBF1B}"/>
          </ac:cxnSpMkLst>
        </pc:cxnChg>
        <pc:cxnChg chg="mod topLvl">
          <ac:chgData name="Perez Diaz, Karen" userId="17027623-4de6-4c48-9453-394c2c5804f8" providerId="ADAL" clId="{0DCB131B-3EFE-42DC-9206-7151797C1B48}" dt="2021-01-06T19:48:40.948" v="821" actId="1037"/>
          <ac:cxnSpMkLst>
            <pc:docMk/>
            <pc:sldMk cId="3432332875" sldId="745"/>
            <ac:cxnSpMk id="100" creationId="{F638B493-D75F-46C7-ACB7-3EA1A78A0875}"/>
          </ac:cxnSpMkLst>
        </pc:cxnChg>
        <pc:cxnChg chg="mod">
          <ac:chgData name="Perez Diaz, Karen" userId="17027623-4de6-4c48-9453-394c2c5804f8" providerId="ADAL" clId="{0DCB131B-3EFE-42DC-9206-7151797C1B48}" dt="2021-01-06T18:20:27.243" v="709" actId="1035"/>
          <ac:cxnSpMkLst>
            <pc:docMk/>
            <pc:sldMk cId="3432332875" sldId="745"/>
            <ac:cxnSpMk id="101" creationId="{71581115-D1D8-47EE-9B9C-6BF539D02058}"/>
          </ac:cxnSpMkLst>
        </pc:cxnChg>
        <pc:cxnChg chg="mod topLvl">
          <ac:chgData name="Perez Diaz, Karen" userId="17027623-4de6-4c48-9453-394c2c5804f8" providerId="ADAL" clId="{0DCB131B-3EFE-42DC-9206-7151797C1B48}" dt="2021-01-06T19:48:20.186" v="810" actId="165"/>
          <ac:cxnSpMkLst>
            <pc:docMk/>
            <pc:sldMk cId="3432332875" sldId="745"/>
            <ac:cxnSpMk id="106" creationId="{4B691A17-3347-4844-8733-94791245654E}"/>
          </ac:cxnSpMkLst>
        </pc:cxnChg>
        <pc:cxnChg chg="mod">
          <ac:chgData name="Perez Diaz, Karen" userId="17027623-4de6-4c48-9453-394c2c5804f8" providerId="ADAL" clId="{0DCB131B-3EFE-42DC-9206-7151797C1B48}" dt="2021-01-06T18:21:27.900" v="715" actId="1036"/>
          <ac:cxnSpMkLst>
            <pc:docMk/>
            <pc:sldMk cId="3432332875" sldId="745"/>
            <ac:cxnSpMk id="127" creationId="{70FC9D0E-23B7-4805-9408-10A2CC1928CB}"/>
          </ac:cxnSpMkLst>
        </pc:cxnChg>
        <pc:cxnChg chg="mod">
          <ac:chgData name="Perez Diaz, Karen" userId="17027623-4de6-4c48-9453-394c2c5804f8" providerId="ADAL" clId="{0DCB131B-3EFE-42DC-9206-7151797C1B48}" dt="2021-01-06T18:20:27.243" v="709" actId="1035"/>
          <ac:cxnSpMkLst>
            <pc:docMk/>
            <pc:sldMk cId="3432332875" sldId="745"/>
            <ac:cxnSpMk id="147" creationId="{0D416717-3121-4A3B-9438-B3E3297B2148}"/>
          </ac:cxnSpMkLst>
        </pc:cxnChg>
        <pc:cxnChg chg="add del mod">
          <ac:chgData name="Perez Diaz, Karen" userId="17027623-4de6-4c48-9453-394c2c5804f8" providerId="ADAL" clId="{0DCB131B-3EFE-42DC-9206-7151797C1B48}" dt="2021-01-06T18:07:52.815" v="417" actId="478"/>
          <ac:cxnSpMkLst>
            <pc:docMk/>
            <pc:sldMk cId="3432332875" sldId="745"/>
            <ac:cxnSpMk id="151" creationId="{DDBE657C-AC66-455B-8C66-456C193C55A9}"/>
          </ac:cxnSpMkLst>
        </pc:cxnChg>
        <pc:cxnChg chg="mod">
          <ac:chgData name="Perez Diaz, Karen" userId="17027623-4de6-4c48-9453-394c2c5804f8" providerId="ADAL" clId="{0DCB131B-3EFE-42DC-9206-7151797C1B48}" dt="2021-01-06T18:19:38.416" v="688" actId="1036"/>
          <ac:cxnSpMkLst>
            <pc:docMk/>
            <pc:sldMk cId="3432332875" sldId="745"/>
            <ac:cxnSpMk id="154" creationId="{B8C55DC1-E75A-49E4-8B2D-210BEFBDC56D}"/>
          </ac:cxnSpMkLst>
        </pc:cxnChg>
        <pc:cxnChg chg="mod">
          <ac:chgData name="Perez Diaz, Karen" userId="17027623-4de6-4c48-9453-394c2c5804f8" providerId="ADAL" clId="{0DCB131B-3EFE-42DC-9206-7151797C1B48}" dt="2021-01-06T18:10:06.838" v="489" actId="164"/>
          <ac:cxnSpMkLst>
            <pc:docMk/>
            <pc:sldMk cId="3432332875" sldId="745"/>
            <ac:cxnSpMk id="203" creationId="{C8A4CE5A-2494-44D7-B7F2-6D9571F3E921}"/>
          </ac:cxnSpMkLst>
        </pc:cxnChg>
      </pc:sldChg>
      <pc:sldChg chg="modSp add">
        <pc:chgData name="Perez Diaz, Karen" userId="17027623-4de6-4c48-9453-394c2c5804f8" providerId="ADAL" clId="{0DCB131B-3EFE-42DC-9206-7151797C1B48}" dt="2021-01-06T21:49:28.416" v="2300" actId="1036"/>
        <pc:sldMkLst>
          <pc:docMk/>
          <pc:sldMk cId="1408628016" sldId="746"/>
        </pc:sldMkLst>
        <pc:spChg chg="mod">
          <ac:chgData name="Perez Diaz, Karen" userId="17027623-4de6-4c48-9453-394c2c5804f8" providerId="ADAL" clId="{0DCB131B-3EFE-42DC-9206-7151797C1B48}" dt="2021-01-06T21:44:49.525" v="2261" actId="6549"/>
          <ac:spMkLst>
            <pc:docMk/>
            <pc:sldMk cId="1408628016" sldId="746"/>
            <ac:spMk id="2" creationId="{EEB2DB48-F55E-46AE-9540-691925464E4C}"/>
          </ac:spMkLst>
        </pc:spChg>
        <pc:spChg chg="mod">
          <ac:chgData name="Perez Diaz, Karen" userId="17027623-4de6-4c48-9453-394c2c5804f8" providerId="ADAL" clId="{0DCB131B-3EFE-42DC-9206-7151797C1B48}" dt="2021-01-06T21:40:59.490" v="2217" actId="113"/>
          <ac:spMkLst>
            <pc:docMk/>
            <pc:sldMk cId="1408628016" sldId="746"/>
            <ac:spMk id="14" creationId="{F6B3E33B-279A-4B57-A0C7-AFD4CB2BA78F}"/>
          </ac:spMkLst>
        </pc:spChg>
        <pc:spChg chg="mod">
          <ac:chgData name="Perez Diaz, Karen" userId="17027623-4de6-4c48-9453-394c2c5804f8" providerId="ADAL" clId="{0DCB131B-3EFE-42DC-9206-7151797C1B48}" dt="2021-01-06T21:42:01.738" v="2229" actId="1076"/>
          <ac:spMkLst>
            <pc:docMk/>
            <pc:sldMk cId="1408628016" sldId="746"/>
            <ac:spMk id="36" creationId="{B1C07FB1-E4F7-46B0-9153-B6C0A2878CC2}"/>
          </ac:spMkLst>
        </pc:spChg>
        <pc:spChg chg="mod">
          <ac:chgData name="Perez Diaz, Karen" userId="17027623-4de6-4c48-9453-394c2c5804f8" providerId="ADAL" clId="{0DCB131B-3EFE-42DC-9206-7151797C1B48}" dt="2021-01-06T21:44:05.420" v="2255" actId="1076"/>
          <ac:spMkLst>
            <pc:docMk/>
            <pc:sldMk cId="1408628016" sldId="746"/>
            <ac:spMk id="56" creationId="{7712ABA7-5E5F-4307-8A3E-1B769689DCE0}"/>
          </ac:spMkLst>
        </pc:spChg>
        <pc:spChg chg="mod">
          <ac:chgData name="Perez Diaz, Karen" userId="17027623-4de6-4c48-9453-394c2c5804f8" providerId="ADAL" clId="{0DCB131B-3EFE-42DC-9206-7151797C1B48}" dt="2021-01-06T21:43:38.601" v="2243" actId="1035"/>
          <ac:spMkLst>
            <pc:docMk/>
            <pc:sldMk cId="1408628016" sldId="746"/>
            <ac:spMk id="58" creationId="{7F4B5AAA-0867-41C7-AF87-85C4112B3E8C}"/>
          </ac:spMkLst>
        </pc:spChg>
        <pc:spChg chg="mod">
          <ac:chgData name="Perez Diaz, Karen" userId="17027623-4de6-4c48-9453-394c2c5804f8" providerId="ADAL" clId="{0DCB131B-3EFE-42DC-9206-7151797C1B48}" dt="2021-01-06T21:41:44.511" v="2227" actId="1076"/>
          <ac:spMkLst>
            <pc:docMk/>
            <pc:sldMk cId="1408628016" sldId="746"/>
            <ac:spMk id="64" creationId="{FCC3EBC2-9D0D-47EA-B152-51B9C42AFCE8}"/>
          </ac:spMkLst>
        </pc:spChg>
        <pc:spChg chg="mod">
          <ac:chgData name="Perez Diaz, Karen" userId="17027623-4de6-4c48-9453-394c2c5804f8" providerId="ADAL" clId="{0DCB131B-3EFE-42DC-9206-7151797C1B48}" dt="2021-01-06T21:41:38.818" v="2226" actId="1037"/>
          <ac:spMkLst>
            <pc:docMk/>
            <pc:sldMk cId="1408628016" sldId="746"/>
            <ac:spMk id="68" creationId="{8297072D-5A85-4366-B2F8-CF75DDD93FCF}"/>
          </ac:spMkLst>
        </pc:spChg>
        <pc:spChg chg="mod">
          <ac:chgData name="Perez Diaz, Karen" userId="17027623-4de6-4c48-9453-394c2c5804f8" providerId="ADAL" clId="{0DCB131B-3EFE-42DC-9206-7151797C1B48}" dt="2021-01-06T21:43:44.154" v="2244" actId="14100"/>
          <ac:spMkLst>
            <pc:docMk/>
            <pc:sldMk cId="1408628016" sldId="746"/>
            <ac:spMk id="83" creationId="{0657F353-E59F-457A-85B2-BB2DACBD2597}"/>
          </ac:spMkLst>
        </pc:spChg>
        <pc:spChg chg="mod">
          <ac:chgData name="Perez Diaz, Karen" userId="17027623-4de6-4c48-9453-394c2c5804f8" providerId="ADAL" clId="{0DCB131B-3EFE-42DC-9206-7151797C1B48}" dt="2021-01-06T21:43:50.207" v="2254" actId="1036"/>
          <ac:spMkLst>
            <pc:docMk/>
            <pc:sldMk cId="1408628016" sldId="746"/>
            <ac:spMk id="111" creationId="{BFE84C98-41FA-487B-9228-92CF6F468B5E}"/>
          </ac:spMkLst>
        </pc:spChg>
        <pc:spChg chg="mod">
          <ac:chgData name="Perez Diaz, Karen" userId="17027623-4de6-4c48-9453-394c2c5804f8" providerId="ADAL" clId="{0DCB131B-3EFE-42DC-9206-7151797C1B48}" dt="2021-01-06T21:43:50.207" v="2254" actId="1036"/>
          <ac:spMkLst>
            <pc:docMk/>
            <pc:sldMk cId="1408628016" sldId="746"/>
            <ac:spMk id="118" creationId="{42752276-35F2-4455-B23C-6798F26C5A7A}"/>
          </ac:spMkLst>
        </pc:spChg>
        <pc:spChg chg="mod">
          <ac:chgData name="Perez Diaz, Karen" userId="17027623-4de6-4c48-9453-394c2c5804f8" providerId="ADAL" clId="{0DCB131B-3EFE-42DC-9206-7151797C1B48}" dt="2021-01-06T21:49:28.416" v="2300" actId="1036"/>
          <ac:spMkLst>
            <pc:docMk/>
            <pc:sldMk cId="1408628016" sldId="746"/>
            <ac:spMk id="126" creationId="{069C4E0B-1A1F-45B3-A9F7-03B17BA99E1E}"/>
          </ac:spMkLst>
        </pc:spChg>
        <pc:spChg chg="mod">
          <ac:chgData name="Perez Diaz, Karen" userId="17027623-4de6-4c48-9453-394c2c5804f8" providerId="ADAL" clId="{0DCB131B-3EFE-42DC-9206-7151797C1B48}" dt="2021-01-06T21:41:18.476" v="2219" actId="255"/>
          <ac:spMkLst>
            <pc:docMk/>
            <pc:sldMk cId="1408628016" sldId="746"/>
            <ac:spMk id="141" creationId="{3231908A-63C5-4A92-8237-8F802B4963CA}"/>
          </ac:spMkLst>
        </pc:spChg>
        <pc:spChg chg="mod">
          <ac:chgData name="Perez Diaz, Karen" userId="17027623-4de6-4c48-9453-394c2c5804f8" providerId="ADAL" clId="{0DCB131B-3EFE-42DC-9206-7151797C1B48}" dt="2021-01-06T21:37:58.077" v="2196" actId="113"/>
          <ac:spMkLst>
            <pc:docMk/>
            <pc:sldMk cId="1408628016" sldId="746"/>
            <ac:spMk id="144" creationId="{628851C3-29FF-4AEB-84AD-5A7BF1B355EA}"/>
          </ac:spMkLst>
        </pc:spChg>
        <pc:cxnChg chg="mod">
          <ac:chgData name="Perez Diaz, Karen" userId="17027623-4de6-4c48-9453-394c2c5804f8" providerId="ADAL" clId="{0DCB131B-3EFE-42DC-9206-7151797C1B48}" dt="2021-01-06T21:43:11.723" v="2234" actId="14100"/>
          <ac:cxnSpMkLst>
            <pc:docMk/>
            <pc:sldMk cId="1408628016" sldId="746"/>
            <ac:cxnSpMk id="149" creationId="{E9690DFE-1150-4C27-8775-F8344363AE9F}"/>
          </ac:cxnSpMkLst>
        </pc:cxnChg>
        <pc:cxnChg chg="mod">
          <ac:chgData name="Perez Diaz, Karen" userId="17027623-4de6-4c48-9453-394c2c5804f8" providerId="ADAL" clId="{0DCB131B-3EFE-42DC-9206-7151797C1B48}" dt="2021-01-06T21:43:07.724" v="2233" actId="14100"/>
          <ac:cxnSpMkLst>
            <pc:docMk/>
            <pc:sldMk cId="1408628016" sldId="746"/>
            <ac:cxnSpMk id="150" creationId="{D9BBAC7A-AF9F-4222-B145-6770CC93AD49}"/>
          </ac:cxnSpMkLst>
        </pc:cxnChg>
        <pc:cxnChg chg="mod">
          <ac:chgData name="Perez Diaz, Karen" userId="17027623-4de6-4c48-9453-394c2c5804f8" providerId="ADAL" clId="{0DCB131B-3EFE-42DC-9206-7151797C1B48}" dt="2021-01-06T21:43:14.769" v="2235" actId="14100"/>
          <ac:cxnSpMkLst>
            <pc:docMk/>
            <pc:sldMk cId="1408628016" sldId="746"/>
            <ac:cxnSpMk id="151" creationId="{8FBD3D58-CFFE-485A-B97C-ABA0D8E93C81}"/>
          </ac:cxnSpMkLst>
        </pc:cxnChg>
        <pc:cxnChg chg="mod">
          <ac:chgData name="Perez Diaz, Karen" userId="17027623-4de6-4c48-9453-394c2c5804f8" providerId="ADAL" clId="{0DCB131B-3EFE-42DC-9206-7151797C1B48}" dt="2021-01-06T21:46:29.472" v="2271" actId="14100"/>
          <ac:cxnSpMkLst>
            <pc:docMk/>
            <pc:sldMk cId="1408628016" sldId="746"/>
            <ac:cxnSpMk id="152" creationId="{514BFF4E-22EB-4C36-B1DB-70558BF1F690}"/>
          </ac:cxnSpMkLst>
        </pc:cxnChg>
        <pc:cxnChg chg="mod">
          <ac:chgData name="Perez Diaz, Karen" userId="17027623-4de6-4c48-9453-394c2c5804f8" providerId="ADAL" clId="{0DCB131B-3EFE-42DC-9206-7151797C1B48}" dt="2021-01-06T21:47:21.167" v="2279" actId="14100"/>
          <ac:cxnSpMkLst>
            <pc:docMk/>
            <pc:sldMk cId="1408628016" sldId="746"/>
            <ac:cxnSpMk id="153" creationId="{BE8D0180-3C9F-43DE-A735-6E9681C3D968}"/>
          </ac:cxnSpMkLst>
        </pc:cxnChg>
        <pc:cxnChg chg="mod">
          <ac:chgData name="Perez Diaz, Karen" userId="17027623-4de6-4c48-9453-394c2c5804f8" providerId="ADAL" clId="{0DCB131B-3EFE-42DC-9206-7151797C1B48}" dt="2021-01-06T21:43:50.207" v="2254" actId="1036"/>
          <ac:cxnSpMkLst>
            <pc:docMk/>
            <pc:sldMk cId="1408628016" sldId="746"/>
            <ac:cxnSpMk id="154" creationId="{B8C55DC1-E75A-49E4-8B2D-210BEFBDC56D}"/>
          </ac:cxnSpMkLst>
        </pc:cxnChg>
        <pc:cxnChg chg="mod">
          <ac:chgData name="Perez Diaz, Karen" userId="17027623-4de6-4c48-9453-394c2c5804f8" providerId="ADAL" clId="{0DCB131B-3EFE-42DC-9206-7151797C1B48}" dt="2021-01-06T21:47:06.807" v="2278" actId="14100"/>
          <ac:cxnSpMkLst>
            <pc:docMk/>
            <pc:sldMk cId="1408628016" sldId="746"/>
            <ac:cxnSpMk id="155" creationId="{F8015480-B5E2-46CE-9A74-EA3DEC2E5210}"/>
          </ac:cxnSpMkLst>
        </pc:cxnChg>
        <pc:cxnChg chg="mod">
          <ac:chgData name="Perez Diaz, Karen" userId="17027623-4de6-4c48-9453-394c2c5804f8" providerId="ADAL" clId="{0DCB131B-3EFE-42DC-9206-7151797C1B48}" dt="2021-01-06T21:47:01.511" v="2277" actId="14100"/>
          <ac:cxnSpMkLst>
            <pc:docMk/>
            <pc:sldMk cId="1408628016" sldId="746"/>
            <ac:cxnSpMk id="156" creationId="{EB8C3AAD-81D1-4DC9-AA5D-303F9E84CDBF}"/>
          </ac:cxnSpMkLst>
        </pc:cxnChg>
      </pc:sldChg>
      <pc:sldChg chg="addSp delSp modSp add del">
        <pc:chgData name="Perez Diaz, Karen" userId="17027623-4de6-4c48-9453-394c2c5804f8" providerId="ADAL" clId="{0DCB131B-3EFE-42DC-9206-7151797C1B48}" dt="2021-01-06T21:34:46.377" v="2192" actId="2696"/>
        <pc:sldMkLst>
          <pc:docMk/>
          <pc:sldMk cId="2048718066" sldId="746"/>
        </pc:sldMkLst>
        <pc:spChg chg="mod">
          <ac:chgData name="Perez Diaz, Karen" userId="17027623-4de6-4c48-9453-394c2c5804f8" providerId="ADAL" clId="{0DCB131B-3EFE-42DC-9206-7151797C1B48}" dt="2021-01-06T21:15:45.860" v="1226" actId="20577"/>
          <ac:spMkLst>
            <pc:docMk/>
            <pc:sldMk cId="2048718066" sldId="746"/>
            <ac:spMk id="2" creationId="{EEB2DB48-F55E-46AE-9540-691925464E4C}"/>
          </ac:spMkLst>
        </pc:spChg>
        <pc:spChg chg="mod">
          <ac:chgData name="Perez Diaz, Karen" userId="17027623-4de6-4c48-9453-394c2c5804f8" providerId="ADAL" clId="{0DCB131B-3EFE-42DC-9206-7151797C1B48}" dt="2021-01-06T21:32:11.226" v="2189" actId="1038"/>
          <ac:spMkLst>
            <pc:docMk/>
            <pc:sldMk cId="2048718066" sldId="746"/>
            <ac:spMk id="58" creationId="{7F4B5AAA-0867-41C7-AF87-85C4112B3E8C}"/>
          </ac:spMkLst>
        </pc:spChg>
        <pc:spChg chg="mod">
          <ac:chgData name="Perez Diaz, Karen" userId="17027623-4de6-4c48-9453-394c2c5804f8" providerId="ADAL" clId="{0DCB131B-3EFE-42DC-9206-7151797C1B48}" dt="2021-01-06T21:32:11.226" v="2189" actId="1038"/>
          <ac:spMkLst>
            <pc:docMk/>
            <pc:sldMk cId="2048718066" sldId="746"/>
            <ac:spMk id="64" creationId="{FCC3EBC2-9D0D-47EA-B152-51B9C42AFCE8}"/>
          </ac:spMkLst>
        </pc:spChg>
        <pc:spChg chg="mod">
          <ac:chgData name="Perez Diaz, Karen" userId="17027623-4de6-4c48-9453-394c2c5804f8" providerId="ADAL" clId="{0DCB131B-3EFE-42DC-9206-7151797C1B48}" dt="2021-01-06T21:32:11.226" v="2189" actId="1038"/>
          <ac:spMkLst>
            <pc:docMk/>
            <pc:sldMk cId="2048718066" sldId="746"/>
            <ac:spMk id="68" creationId="{8297072D-5A85-4366-B2F8-CF75DDD93FCF}"/>
          </ac:spMkLst>
        </pc:spChg>
        <pc:spChg chg="add del ord">
          <ac:chgData name="Perez Diaz, Karen" userId="17027623-4de6-4c48-9453-394c2c5804f8" providerId="ADAL" clId="{0DCB131B-3EFE-42DC-9206-7151797C1B48}" dt="2021-01-06T21:20:21.564" v="1752" actId="478"/>
          <ac:spMkLst>
            <pc:docMk/>
            <pc:sldMk cId="2048718066" sldId="746"/>
            <ac:spMk id="82" creationId="{D2C7C7FE-D8A0-42F4-B1BD-CA7CE7183444}"/>
          </ac:spMkLst>
        </pc:spChg>
        <pc:spChg chg="add mod ord">
          <ac:chgData name="Perez Diaz, Karen" userId="17027623-4de6-4c48-9453-394c2c5804f8" providerId="ADAL" clId="{0DCB131B-3EFE-42DC-9206-7151797C1B48}" dt="2021-01-06T21:28:00.271" v="2105" actId="1037"/>
          <ac:spMkLst>
            <pc:docMk/>
            <pc:sldMk cId="2048718066" sldId="746"/>
            <ac:spMk id="83" creationId="{0657F353-E59F-457A-85B2-BB2DACBD2597}"/>
          </ac:spMkLst>
        </pc:spChg>
        <pc:spChg chg="add mod">
          <ac:chgData name="Perez Diaz, Karen" userId="17027623-4de6-4c48-9453-394c2c5804f8" providerId="ADAL" clId="{0DCB131B-3EFE-42DC-9206-7151797C1B48}" dt="2021-01-06T21:21:57.102" v="1942" actId="571"/>
          <ac:spMkLst>
            <pc:docMk/>
            <pc:sldMk cId="2048718066" sldId="746"/>
            <ac:spMk id="92" creationId="{38F05D27-B49E-445C-B34D-DD30E0080626}"/>
          </ac:spMkLst>
        </pc:spChg>
        <pc:spChg chg="mod">
          <ac:chgData name="Perez Diaz, Karen" userId="17027623-4de6-4c48-9453-394c2c5804f8" providerId="ADAL" clId="{0DCB131B-3EFE-42DC-9206-7151797C1B48}" dt="2021-01-06T21:17:23.759" v="1242" actId="164"/>
          <ac:spMkLst>
            <pc:docMk/>
            <pc:sldMk cId="2048718066" sldId="746"/>
            <ac:spMk id="93" creationId="{792E0B45-1391-4BC6-8986-26E404F3B518}"/>
          </ac:spMkLst>
        </pc:spChg>
        <pc:spChg chg="del mod topLvl">
          <ac:chgData name="Perez Diaz, Karen" userId="17027623-4de6-4c48-9453-394c2c5804f8" providerId="ADAL" clId="{0DCB131B-3EFE-42DC-9206-7151797C1B48}" dt="2021-01-06T21:23:45.315" v="1969" actId="478"/>
          <ac:spMkLst>
            <pc:docMk/>
            <pc:sldMk cId="2048718066" sldId="746"/>
            <ac:spMk id="94" creationId="{40842276-A91A-40C2-B4E1-59432F9A3A28}"/>
          </ac:spMkLst>
        </pc:spChg>
        <pc:spChg chg="mod">
          <ac:chgData name="Perez Diaz, Karen" userId="17027623-4de6-4c48-9453-394c2c5804f8" providerId="ADAL" clId="{0DCB131B-3EFE-42DC-9206-7151797C1B48}" dt="2021-01-06T21:17:23.759" v="1242" actId="164"/>
          <ac:spMkLst>
            <pc:docMk/>
            <pc:sldMk cId="2048718066" sldId="746"/>
            <ac:spMk id="95" creationId="{2EEF3D7B-0209-45A3-8234-DF5C3A5823AE}"/>
          </ac:spMkLst>
        </pc:spChg>
        <pc:spChg chg="mod">
          <ac:chgData name="Perez Diaz, Karen" userId="17027623-4de6-4c48-9453-394c2c5804f8" providerId="ADAL" clId="{0DCB131B-3EFE-42DC-9206-7151797C1B48}" dt="2021-01-06T21:17:23.759" v="1242" actId="164"/>
          <ac:spMkLst>
            <pc:docMk/>
            <pc:sldMk cId="2048718066" sldId="746"/>
            <ac:spMk id="96" creationId="{F9AACBE0-D4FE-40D6-8E00-40DDF636A60D}"/>
          </ac:spMkLst>
        </pc:spChg>
        <pc:spChg chg="mod">
          <ac:chgData name="Perez Diaz, Karen" userId="17027623-4de6-4c48-9453-394c2c5804f8" providerId="ADAL" clId="{0DCB131B-3EFE-42DC-9206-7151797C1B48}" dt="2021-01-06T21:17:23.759" v="1242" actId="164"/>
          <ac:spMkLst>
            <pc:docMk/>
            <pc:sldMk cId="2048718066" sldId="746"/>
            <ac:spMk id="98" creationId="{EFE86654-5D76-41A0-8C66-6E4B2C321E95}"/>
          </ac:spMkLst>
        </pc:spChg>
        <pc:spChg chg="mod">
          <ac:chgData name="Perez Diaz, Karen" userId="17027623-4de6-4c48-9453-394c2c5804f8" providerId="ADAL" clId="{0DCB131B-3EFE-42DC-9206-7151797C1B48}" dt="2021-01-06T21:17:23.759" v="1242" actId="164"/>
          <ac:spMkLst>
            <pc:docMk/>
            <pc:sldMk cId="2048718066" sldId="746"/>
            <ac:spMk id="103" creationId="{05030A7C-7089-4C44-9D97-0A4A960E7D44}"/>
          </ac:spMkLst>
        </pc:spChg>
        <pc:spChg chg="add mod">
          <ac:chgData name="Perez Diaz, Karen" userId="17027623-4de6-4c48-9453-394c2c5804f8" providerId="ADAL" clId="{0DCB131B-3EFE-42DC-9206-7151797C1B48}" dt="2021-01-06T21:21:57.102" v="1942" actId="571"/>
          <ac:spMkLst>
            <pc:docMk/>
            <pc:sldMk cId="2048718066" sldId="746"/>
            <ac:spMk id="104" creationId="{5FD6C2E6-EB10-4E24-94A0-92B88DC95228}"/>
          </ac:spMkLst>
        </pc:spChg>
        <pc:spChg chg="mod">
          <ac:chgData name="Perez Diaz, Karen" userId="17027623-4de6-4c48-9453-394c2c5804f8" providerId="ADAL" clId="{0DCB131B-3EFE-42DC-9206-7151797C1B48}" dt="2021-01-06T21:22:17.024" v="1951" actId="1036"/>
          <ac:spMkLst>
            <pc:docMk/>
            <pc:sldMk cId="2048718066" sldId="746"/>
            <ac:spMk id="111" creationId="{BFE84C98-41FA-487B-9228-92CF6F468B5E}"/>
          </ac:spMkLst>
        </pc:spChg>
        <pc:spChg chg="mod">
          <ac:chgData name="Perez Diaz, Karen" userId="17027623-4de6-4c48-9453-394c2c5804f8" providerId="ADAL" clId="{0DCB131B-3EFE-42DC-9206-7151797C1B48}" dt="2021-01-06T21:22:17.024" v="1951" actId="1036"/>
          <ac:spMkLst>
            <pc:docMk/>
            <pc:sldMk cId="2048718066" sldId="746"/>
            <ac:spMk id="118" creationId="{42752276-35F2-4455-B23C-6798F26C5A7A}"/>
          </ac:spMkLst>
        </pc:spChg>
        <pc:spChg chg="del mod ord">
          <ac:chgData name="Perez Diaz, Karen" userId="17027623-4de6-4c48-9453-394c2c5804f8" providerId="ADAL" clId="{0DCB131B-3EFE-42DC-9206-7151797C1B48}" dt="2021-01-06T21:17:10.444" v="1241" actId="478"/>
          <ac:spMkLst>
            <pc:docMk/>
            <pc:sldMk cId="2048718066" sldId="746"/>
            <ac:spMk id="123" creationId="{FC29B034-AF17-4B3B-AB22-B23A8DC79CE6}"/>
          </ac:spMkLst>
        </pc:spChg>
        <pc:spChg chg="mod">
          <ac:chgData name="Perez Diaz, Karen" userId="17027623-4de6-4c48-9453-394c2c5804f8" providerId="ADAL" clId="{0DCB131B-3EFE-42DC-9206-7151797C1B48}" dt="2021-01-06T21:17:23.759" v="1242" actId="164"/>
          <ac:spMkLst>
            <pc:docMk/>
            <pc:sldMk cId="2048718066" sldId="746"/>
            <ac:spMk id="124" creationId="{1ECA2753-F0C9-48A2-8D58-3F7CE2326C07}"/>
          </ac:spMkLst>
        </pc:spChg>
        <pc:spChg chg="add del">
          <ac:chgData name="Perez Diaz, Karen" userId="17027623-4de6-4c48-9453-394c2c5804f8" providerId="ADAL" clId="{0DCB131B-3EFE-42DC-9206-7151797C1B48}" dt="2021-01-06T21:24:49.880" v="1972"/>
          <ac:spMkLst>
            <pc:docMk/>
            <pc:sldMk cId="2048718066" sldId="746"/>
            <ac:spMk id="125" creationId="{FCB2E35C-255A-453F-A4D5-E066F1E3CD5F}"/>
          </ac:spMkLst>
        </pc:spChg>
        <pc:spChg chg="add mod">
          <ac:chgData name="Perez Diaz, Karen" userId="17027623-4de6-4c48-9453-394c2c5804f8" providerId="ADAL" clId="{0DCB131B-3EFE-42DC-9206-7151797C1B48}" dt="2021-01-06T21:25:48.359" v="1999" actId="1036"/>
          <ac:spMkLst>
            <pc:docMk/>
            <pc:sldMk cId="2048718066" sldId="746"/>
            <ac:spMk id="126" creationId="{069C4E0B-1A1F-45B3-A9F7-03B17BA99E1E}"/>
          </ac:spMkLst>
        </pc:spChg>
        <pc:spChg chg="add mod">
          <ac:chgData name="Perez Diaz, Karen" userId="17027623-4de6-4c48-9453-394c2c5804f8" providerId="ADAL" clId="{0DCB131B-3EFE-42DC-9206-7151797C1B48}" dt="2021-01-06T21:26:16.206" v="2021" actId="1036"/>
          <ac:spMkLst>
            <pc:docMk/>
            <pc:sldMk cId="2048718066" sldId="746"/>
            <ac:spMk id="128" creationId="{54981313-1EBB-4ABE-B4E7-423DAC3E6964}"/>
          </ac:spMkLst>
        </pc:spChg>
        <pc:spChg chg="add mod">
          <ac:chgData name="Perez Diaz, Karen" userId="17027623-4de6-4c48-9453-394c2c5804f8" providerId="ADAL" clId="{0DCB131B-3EFE-42DC-9206-7151797C1B48}" dt="2021-01-06T21:28:08.090" v="2112" actId="1037"/>
          <ac:spMkLst>
            <pc:docMk/>
            <pc:sldMk cId="2048718066" sldId="746"/>
            <ac:spMk id="129" creationId="{6454F3A4-2FDF-41A1-AF0F-A01AD7939C5C}"/>
          </ac:spMkLst>
        </pc:spChg>
        <pc:spChg chg="add mod">
          <ac:chgData name="Perez Diaz, Karen" userId="17027623-4de6-4c48-9453-394c2c5804f8" providerId="ADAL" clId="{0DCB131B-3EFE-42DC-9206-7151797C1B48}" dt="2021-01-06T21:28:08.090" v="2112" actId="1037"/>
          <ac:spMkLst>
            <pc:docMk/>
            <pc:sldMk cId="2048718066" sldId="746"/>
            <ac:spMk id="130" creationId="{DD1898C0-E91E-459C-9352-12D5855B2E1C}"/>
          </ac:spMkLst>
        </pc:spChg>
        <pc:spChg chg="add mod">
          <ac:chgData name="Perez Diaz, Karen" userId="17027623-4de6-4c48-9453-394c2c5804f8" providerId="ADAL" clId="{0DCB131B-3EFE-42DC-9206-7151797C1B48}" dt="2021-01-06T21:29:18.695" v="2152" actId="1038"/>
          <ac:spMkLst>
            <pc:docMk/>
            <pc:sldMk cId="2048718066" sldId="746"/>
            <ac:spMk id="131" creationId="{9824804E-F88D-4751-9CC5-D3BAED53C87E}"/>
          </ac:spMkLst>
        </pc:spChg>
        <pc:spChg chg="add mod">
          <ac:chgData name="Perez Diaz, Karen" userId="17027623-4de6-4c48-9453-394c2c5804f8" providerId="ADAL" clId="{0DCB131B-3EFE-42DC-9206-7151797C1B48}" dt="2021-01-06T21:27:50.971" v="2099" actId="1035"/>
          <ac:spMkLst>
            <pc:docMk/>
            <pc:sldMk cId="2048718066" sldId="746"/>
            <ac:spMk id="133" creationId="{654A3199-06BB-4A99-8119-983BF78C97B4}"/>
          </ac:spMkLst>
        </pc:spChg>
        <pc:spChg chg="add del">
          <ac:chgData name="Perez Diaz, Karen" userId="17027623-4de6-4c48-9453-394c2c5804f8" providerId="ADAL" clId="{0DCB131B-3EFE-42DC-9206-7151797C1B48}" dt="2021-01-06T21:26:35.204" v="2034" actId="478"/>
          <ac:spMkLst>
            <pc:docMk/>
            <pc:sldMk cId="2048718066" sldId="746"/>
            <ac:spMk id="136" creationId="{463FD722-0270-4360-91CA-4AB4241B0DB1}"/>
          </ac:spMkLst>
        </pc:spChg>
        <pc:spChg chg="add del mod">
          <ac:chgData name="Perez Diaz, Karen" userId="17027623-4de6-4c48-9453-394c2c5804f8" providerId="ADAL" clId="{0DCB131B-3EFE-42DC-9206-7151797C1B48}" dt="2021-01-06T21:26:39.836" v="2036" actId="478"/>
          <ac:spMkLst>
            <pc:docMk/>
            <pc:sldMk cId="2048718066" sldId="746"/>
            <ac:spMk id="137" creationId="{B60A729C-C74D-4A19-AE07-15C3899166CD}"/>
          </ac:spMkLst>
        </pc:spChg>
        <pc:spChg chg="add mod">
          <ac:chgData name="Perez Diaz, Karen" userId="17027623-4de6-4c48-9453-394c2c5804f8" providerId="ADAL" clId="{0DCB131B-3EFE-42DC-9206-7151797C1B48}" dt="2021-01-06T21:29:24.476" v="2153" actId="14100"/>
          <ac:spMkLst>
            <pc:docMk/>
            <pc:sldMk cId="2048718066" sldId="746"/>
            <ac:spMk id="138" creationId="{3AC812D2-03D7-4DA2-8511-F64773F3658E}"/>
          </ac:spMkLst>
        </pc:spChg>
        <pc:spChg chg="add">
          <ac:chgData name="Perez Diaz, Karen" userId="17027623-4de6-4c48-9453-394c2c5804f8" providerId="ADAL" clId="{0DCB131B-3EFE-42DC-9206-7151797C1B48}" dt="2021-01-06T21:25:29.133" v="1974"/>
          <ac:spMkLst>
            <pc:docMk/>
            <pc:sldMk cId="2048718066" sldId="746"/>
            <ac:spMk id="139" creationId="{8D405F13-8A40-4F84-89A1-02CC1632AC83}"/>
          </ac:spMkLst>
        </pc:spChg>
        <pc:spChg chg="add">
          <ac:chgData name="Perez Diaz, Karen" userId="17027623-4de6-4c48-9453-394c2c5804f8" providerId="ADAL" clId="{0DCB131B-3EFE-42DC-9206-7151797C1B48}" dt="2021-01-06T21:25:29.133" v="1974"/>
          <ac:spMkLst>
            <pc:docMk/>
            <pc:sldMk cId="2048718066" sldId="746"/>
            <ac:spMk id="140" creationId="{A58AD8F8-B552-475F-83F4-746B11CF975C}"/>
          </ac:spMkLst>
        </pc:spChg>
        <pc:spChg chg="add">
          <ac:chgData name="Perez Diaz, Karen" userId="17027623-4de6-4c48-9453-394c2c5804f8" providerId="ADAL" clId="{0DCB131B-3EFE-42DC-9206-7151797C1B48}" dt="2021-01-06T21:25:29.133" v="1974"/>
          <ac:spMkLst>
            <pc:docMk/>
            <pc:sldMk cId="2048718066" sldId="746"/>
            <ac:spMk id="141" creationId="{3231908A-63C5-4A92-8237-8F802B4963CA}"/>
          </ac:spMkLst>
        </pc:spChg>
        <pc:spChg chg="add mod">
          <ac:chgData name="Perez Diaz, Karen" userId="17027623-4de6-4c48-9453-394c2c5804f8" providerId="ADAL" clId="{0DCB131B-3EFE-42DC-9206-7151797C1B48}" dt="2021-01-06T21:28:48.981" v="2139" actId="1036"/>
          <ac:spMkLst>
            <pc:docMk/>
            <pc:sldMk cId="2048718066" sldId="746"/>
            <ac:spMk id="142" creationId="{D2B0A936-F76E-4629-9A4D-F8AFAFFA73C1}"/>
          </ac:spMkLst>
        </pc:spChg>
        <pc:spChg chg="add mod">
          <ac:chgData name="Perez Diaz, Karen" userId="17027623-4de6-4c48-9453-394c2c5804f8" providerId="ADAL" clId="{0DCB131B-3EFE-42DC-9206-7151797C1B48}" dt="2021-01-06T21:28:48.981" v="2139" actId="1036"/>
          <ac:spMkLst>
            <pc:docMk/>
            <pc:sldMk cId="2048718066" sldId="746"/>
            <ac:spMk id="143" creationId="{B1560042-AEDC-4B61-BDCE-44F7DDB3A4B3}"/>
          </ac:spMkLst>
        </pc:spChg>
        <pc:spChg chg="add mod">
          <ac:chgData name="Perez Diaz, Karen" userId="17027623-4de6-4c48-9453-394c2c5804f8" providerId="ADAL" clId="{0DCB131B-3EFE-42DC-9206-7151797C1B48}" dt="2021-01-06T21:28:48.981" v="2139" actId="1036"/>
          <ac:spMkLst>
            <pc:docMk/>
            <pc:sldMk cId="2048718066" sldId="746"/>
            <ac:spMk id="144" creationId="{628851C3-29FF-4AEB-84AD-5A7BF1B355EA}"/>
          </ac:spMkLst>
        </pc:spChg>
        <pc:spChg chg="add mod">
          <ac:chgData name="Perez Diaz, Karen" userId="17027623-4de6-4c48-9453-394c2c5804f8" providerId="ADAL" clId="{0DCB131B-3EFE-42DC-9206-7151797C1B48}" dt="2021-01-06T21:28:48.981" v="2139" actId="1036"/>
          <ac:spMkLst>
            <pc:docMk/>
            <pc:sldMk cId="2048718066" sldId="746"/>
            <ac:spMk id="145" creationId="{7D090A6A-19EC-4804-92DA-9F995A268B21}"/>
          </ac:spMkLst>
        </pc:spChg>
        <pc:spChg chg="add mod">
          <ac:chgData name="Perez Diaz, Karen" userId="17027623-4de6-4c48-9453-394c2c5804f8" providerId="ADAL" clId="{0DCB131B-3EFE-42DC-9206-7151797C1B48}" dt="2021-01-06T21:28:57.571" v="2141" actId="571"/>
          <ac:spMkLst>
            <pc:docMk/>
            <pc:sldMk cId="2048718066" sldId="746"/>
            <ac:spMk id="146" creationId="{904FF7F0-C3A7-45D0-B933-9593A6251C5E}"/>
          </ac:spMkLst>
        </pc:spChg>
        <pc:grpChg chg="add mod">
          <ac:chgData name="Perez Diaz, Karen" userId="17027623-4de6-4c48-9453-394c2c5804f8" providerId="ADAL" clId="{0DCB131B-3EFE-42DC-9206-7151797C1B48}" dt="2021-01-06T21:17:00.581" v="1240" actId="164"/>
          <ac:grpSpMkLst>
            <pc:docMk/>
            <pc:sldMk cId="2048718066" sldId="746"/>
            <ac:grpSpMk id="3" creationId="{51728FCE-F259-4461-8125-563831559C69}"/>
          </ac:grpSpMkLst>
        </pc:grpChg>
        <pc:grpChg chg="add mod">
          <ac:chgData name="Perez Diaz, Karen" userId="17027623-4de6-4c48-9453-394c2c5804f8" providerId="ADAL" clId="{0DCB131B-3EFE-42DC-9206-7151797C1B48}" dt="2021-01-06T21:17:32.430" v="1243" actId="164"/>
          <ac:grpSpMkLst>
            <pc:docMk/>
            <pc:sldMk cId="2048718066" sldId="746"/>
            <ac:grpSpMk id="15" creationId="{EE66E9E0-1DA7-42C4-BE8A-26241CE2D495}"/>
          </ac:grpSpMkLst>
        </pc:grpChg>
        <pc:grpChg chg="add del mod topLvl">
          <ac:chgData name="Perez Diaz, Karen" userId="17027623-4de6-4c48-9453-394c2c5804f8" providerId="ADAL" clId="{0DCB131B-3EFE-42DC-9206-7151797C1B48}" dt="2021-01-06T21:23:38.518" v="1968" actId="478"/>
          <ac:grpSpMkLst>
            <pc:docMk/>
            <pc:sldMk cId="2048718066" sldId="746"/>
            <ac:grpSpMk id="16" creationId="{BDC67EBA-D6EC-49CB-BF20-7C0EE4C807BF}"/>
          </ac:grpSpMkLst>
        </pc:grpChg>
        <pc:grpChg chg="add del mod">
          <ac:chgData name="Perez Diaz, Karen" userId="17027623-4de6-4c48-9453-394c2c5804f8" providerId="ADAL" clId="{0DCB131B-3EFE-42DC-9206-7151797C1B48}" dt="2021-01-06T21:23:34.545" v="1967" actId="165"/>
          <ac:grpSpMkLst>
            <pc:docMk/>
            <pc:sldMk cId="2048718066" sldId="746"/>
            <ac:grpSpMk id="17" creationId="{E94AF1C7-83C1-48D4-AB49-9AC2CD6D3580}"/>
          </ac:grpSpMkLst>
        </pc:grpChg>
        <pc:grpChg chg="mod">
          <ac:chgData name="Perez Diaz, Karen" userId="17027623-4de6-4c48-9453-394c2c5804f8" providerId="ADAL" clId="{0DCB131B-3EFE-42DC-9206-7151797C1B48}" dt="2021-01-06T21:21:57.102" v="1942" actId="571"/>
          <ac:grpSpMkLst>
            <pc:docMk/>
            <pc:sldMk cId="2048718066" sldId="746"/>
            <ac:grpSpMk id="28" creationId="{28CDEEFF-6901-489B-A613-600C6B9418BC}"/>
          </ac:grpSpMkLst>
        </pc:grpChg>
        <pc:grpChg chg="mod">
          <ac:chgData name="Perez Diaz, Karen" userId="17027623-4de6-4c48-9453-394c2c5804f8" providerId="ADAL" clId="{0DCB131B-3EFE-42DC-9206-7151797C1B48}" dt="2021-01-06T21:21:57.102" v="1942" actId="571"/>
          <ac:grpSpMkLst>
            <pc:docMk/>
            <pc:sldMk cId="2048718066" sldId="746"/>
            <ac:grpSpMk id="29" creationId="{5E07E4C3-ED30-4A2B-B1DD-79C6CB2E3EEF}"/>
          </ac:grpSpMkLst>
        </pc:grpChg>
        <pc:grpChg chg="mod">
          <ac:chgData name="Perez Diaz, Karen" userId="17027623-4de6-4c48-9453-394c2c5804f8" providerId="ADAL" clId="{0DCB131B-3EFE-42DC-9206-7151797C1B48}" dt="2021-01-06T21:17:23.759" v="1242" actId="164"/>
          <ac:grpSpMkLst>
            <pc:docMk/>
            <pc:sldMk cId="2048718066" sldId="746"/>
            <ac:grpSpMk id="102" creationId="{DD622DB8-D90E-4F14-BE73-0A6AFF5BBC35}"/>
          </ac:grpSpMkLst>
        </pc:grpChg>
        <pc:grpChg chg="mod">
          <ac:chgData name="Perez Diaz, Karen" userId="17027623-4de6-4c48-9453-394c2c5804f8" providerId="ADAL" clId="{0DCB131B-3EFE-42DC-9206-7151797C1B48}" dt="2021-01-06T21:17:32.430" v="1243" actId="164"/>
          <ac:grpSpMkLst>
            <pc:docMk/>
            <pc:sldMk cId="2048718066" sldId="746"/>
            <ac:grpSpMk id="105" creationId="{2965B370-0DED-44F4-BCC7-DC8E04585A08}"/>
          </ac:grpSpMkLst>
        </pc:grpChg>
        <pc:cxnChg chg="del mod">
          <ac:chgData name="Perez Diaz, Karen" userId="17027623-4de6-4c48-9453-394c2c5804f8" providerId="ADAL" clId="{0DCB131B-3EFE-42DC-9206-7151797C1B48}" dt="2021-01-06T21:30:48.004" v="2163" actId="478"/>
          <ac:cxnSpMkLst>
            <pc:docMk/>
            <pc:sldMk cId="2048718066" sldId="746"/>
            <ac:cxnSpMk id="88" creationId="{20BFF8FF-A9AC-42B3-9E16-51EEF5013E4F}"/>
          </ac:cxnSpMkLst>
        </pc:cxnChg>
        <pc:cxnChg chg="del mod">
          <ac:chgData name="Perez Diaz, Karen" userId="17027623-4de6-4c48-9453-394c2c5804f8" providerId="ADAL" clId="{0DCB131B-3EFE-42DC-9206-7151797C1B48}" dt="2021-01-06T21:30:48.004" v="2163" actId="478"/>
          <ac:cxnSpMkLst>
            <pc:docMk/>
            <pc:sldMk cId="2048718066" sldId="746"/>
            <ac:cxnSpMk id="89" creationId="{F6D0CAB7-E7FA-45CA-BA27-E6415FBC3475}"/>
          </ac:cxnSpMkLst>
        </pc:cxnChg>
        <pc:cxnChg chg="del mod">
          <ac:chgData name="Perez Diaz, Karen" userId="17027623-4de6-4c48-9453-394c2c5804f8" providerId="ADAL" clId="{0DCB131B-3EFE-42DC-9206-7151797C1B48}" dt="2021-01-06T21:30:48.004" v="2163" actId="478"/>
          <ac:cxnSpMkLst>
            <pc:docMk/>
            <pc:sldMk cId="2048718066" sldId="746"/>
            <ac:cxnSpMk id="90" creationId="{22F02368-4E4D-4EAB-AD3D-C2A7672DF70E}"/>
          </ac:cxnSpMkLst>
        </pc:cxnChg>
        <pc:cxnChg chg="del mod">
          <ac:chgData name="Perez Diaz, Karen" userId="17027623-4de6-4c48-9453-394c2c5804f8" providerId="ADAL" clId="{0DCB131B-3EFE-42DC-9206-7151797C1B48}" dt="2021-01-06T21:30:48.004" v="2163" actId="478"/>
          <ac:cxnSpMkLst>
            <pc:docMk/>
            <pc:sldMk cId="2048718066" sldId="746"/>
            <ac:cxnSpMk id="91" creationId="{2511CA12-2B29-4674-9F12-2D791F8D8A4F}"/>
          </ac:cxnSpMkLst>
        </pc:cxnChg>
        <pc:cxnChg chg="mod">
          <ac:chgData name="Perez Diaz, Karen" userId="17027623-4de6-4c48-9453-394c2c5804f8" providerId="ADAL" clId="{0DCB131B-3EFE-42DC-9206-7151797C1B48}" dt="2021-01-06T21:23:38.518" v="1968" actId="478"/>
          <ac:cxnSpMkLst>
            <pc:docMk/>
            <pc:sldMk cId="2048718066" sldId="746"/>
            <ac:cxnSpMk id="97" creationId="{58DDC82B-EB20-47E0-A6EB-37432190550A}"/>
          </ac:cxnSpMkLst>
        </pc:cxnChg>
        <pc:cxnChg chg="mod">
          <ac:chgData name="Perez Diaz, Karen" userId="17027623-4de6-4c48-9453-394c2c5804f8" providerId="ADAL" clId="{0DCB131B-3EFE-42DC-9206-7151797C1B48}" dt="2021-01-06T21:23:38.518" v="1968" actId="478"/>
          <ac:cxnSpMkLst>
            <pc:docMk/>
            <pc:sldMk cId="2048718066" sldId="746"/>
            <ac:cxnSpMk id="99" creationId="{4FA0C0ED-18E5-4A98-A616-A33DDBBCBF1B}"/>
          </ac:cxnSpMkLst>
        </pc:cxnChg>
        <pc:cxnChg chg="mod">
          <ac:chgData name="Perez Diaz, Karen" userId="17027623-4de6-4c48-9453-394c2c5804f8" providerId="ADAL" clId="{0DCB131B-3EFE-42DC-9206-7151797C1B48}" dt="2021-01-06T21:23:38.518" v="1968" actId="478"/>
          <ac:cxnSpMkLst>
            <pc:docMk/>
            <pc:sldMk cId="2048718066" sldId="746"/>
            <ac:cxnSpMk id="100" creationId="{F638B493-D75F-46C7-ACB7-3EA1A78A0875}"/>
          </ac:cxnSpMkLst>
        </pc:cxnChg>
        <pc:cxnChg chg="mod">
          <ac:chgData name="Perez Diaz, Karen" userId="17027623-4de6-4c48-9453-394c2c5804f8" providerId="ADAL" clId="{0DCB131B-3EFE-42DC-9206-7151797C1B48}" dt="2021-01-06T21:23:38.518" v="1968" actId="478"/>
          <ac:cxnSpMkLst>
            <pc:docMk/>
            <pc:sldMk cId="2048718066" sldId="746"/>
            <ac:cxnSpMk id="106" creationId="{4B691A17-3347-4844-8733-94791245654E}"/>
          </ac:cxnSpMkLst>
        </pc:cxnChg>
        <pc:cxnChg chg="add mod">
          <ac:chgData name="Perez Diaz, Karen" userId="17027623-4de6-4c48-9453-394c2c5804f8" providerId="ADAL" clId="{0DCB131B-3EFE-42DC-9206-7151797C1B48}" dt="2021-01-06T21:28:08.090" v="2112" actId="1037"/>
          <ac:cxnSpMkLst>
            <pc:docMk/>
            <pc:sldMk cId="2048718066" sldId="746"/>
            <ac:cxnSpMk id="132" creationId="{CC71F425-BA05-4B83-AA4D-B5F67922EE57}"/>
          </ac:cxnSpMkLst>
        </pc:cxnChg>
        <pc:cxnChg chg="add mod">
          <ac:chgData name="Perez Diaz, Karen" userId="17027623-4de6-4c48-9453-394c2c5804f8" providerId="ADAL" clId="{0DCB131B-3EFE-42DC-9206-7151797C1B48}" dt="2021-01-06T21:28:08.090" v="2112" actId="1037"/>
          <ac:cxnSpMkLst>
            <pc:docMk/>
            <pc:sldMk cId="2048718066" sldId="746"/>
            <ac:cxnSpMk id="134" creationId="{07E15089-AF26-4A6E-9615-0941DEF26F1C}"/>
          </ac:cxnSpMkLst>
        </pc:cxnChg>
        <pc:cxnChg chg="add mod">
          <ac:chgData name="Perez Diaz, Karen" userId="17027623-4de6-4c48-9453-394c2c5804f8" providerId="ADAL" clId="{0DCB131B-3EFE-42DC-9206-7151797C1B48}" dt="2021-01-06T21:29:18.695" v="2152" actId="1038"/>
          <ac:cxnSpMkLst>
            <pc:docMk/>
            <pc:sldMk cId="2048718066" sldId="746"/>
            <ac:cxnSpMk id="135" creationId="{2EEE144C-69C3-429E-AB01-EBDD8B1FFA9B}"/>
          </ac:cxnSpMkLst>
        </pc:cxnChg>
        <pc:cxnChg chg="add mod">
          <ac:chgData name="Perez Diaz, Karen" userId="17027623-4de6-4c48-9453-394c2c5804f8" providerId="ADAL" clId="{0DCB131B-3EFE-42DC-9206-7151797C1B48}" dt="2021-01-06T21:30:59.064" v="2166" actId="14100"/>
          <ac:cxnSpMkLst>
            <pc:docMk/>
            <pc:sldMk cId="2048718066" sldId="746"/>
            <ac:cxnSpMk id="148" creationId="{B0B475CE-819E-426B-AB1A-E037E9AE5C73}"/>
          </ac:cxnSpMkLst>
        </pc:cxnChg>
        <pc:cxnChg chg="add mod">
          <ac:chgData name="Perez Diaz, Karen" userId="17027623-4de6-4c48-9453-394c2c5804f8" providerId="ADAL" clId="{0DCB131B-3EFE-42DC-9206-7151797C1B48}" dt="2021-01-06T21:30:59.064" v="2166" actId="14100"/>
          <ac:cxnSpMkLst>
            <pc:docMk/>
            <pc:sldMk cId="2048718066" sldId="746"/>
            <ac:cxnSpMk id="149" creationId="{E9690DFE-1150-4C27-8775-F8344363AE9F}"/>
          </ac:cxnSpMkLst>
        </pc:cxnChg>
        <pc:cxnChg chg="add mod">
          <ac:chgData name="Perez Diaz, Karen" userId="17027623-4de6-4c48-9453-394c2c5804f8" providerId="ADAL" clId="{0DCB131B-3EFE-42DC-9206-7151797C1B48}" dt="2021-01-06T21:30:59.064" v="2166" actId="14100"/>
          <ac:cxnSpMkLst>
            <pc:docMk/>
            <pc:sldMk cId="2048718066" sldId="746"/>
            <ac:cxnSpMk id="150" creationId="{D9BBAC7A-AF9F-4222-B145-6770CC93AD49}"/>
          </ac:cxnSpMkLst>
        </pc:cxnChg>
        <pc:cxnChg chg="add mod">
          <ac:chgData name="Perez Diaz, Karen" userId="17027623-4de6-4c48-9453-394c2c5804f8" providerId="ADAL" clId="{0DCB131B-3EFE-42DC-9206-7151797C1B48}" dt="2021-01-06T21:30:59.064" v="2166" actId="14100"/>
          <ac:cxnSpMkLst>
            <pc:docMk/>
            <pc:sldMk cId="2048718066" sldId="746"/>
            <ac:cxnSpMk id="151" creationId="{8FBD3D58-CFFE-485A-B97C-ABA0D8E93C81}"/>
          </ac:cxnSpMkLst>
        </pc:cxnChg>
        <pc:cxnChg chg="add mod">
          <ac:chgData name="Perez Diaz, Karen" userId="17027623-4de6-4c48-9453-394c2c5804f8" providerId="ADAL" clId="{0DCB131B-3EFE-42DC-9206-7151797C1B48}" dt="2021-01-06T21:32:27.665" v="2190" actId="14100"/>
          <ac:cxnSpMkLst>
            <pc:docMk/>
            <pc:sldMk cId="2048718066" sldId="746"/>
            <ac:cxnSpMk id="152" creationId="{514BFF4E-22EB-4C36-B1DB-70558BF1F690}"/>
          </ac:cxnSpMkLst>
        </pc:cxnChg>
        <pc:cxnChg chg="add mod">
          <ac:chgData name="Perez Diaz, Karen" userId="17027623-4de6-4c48-9453-394c2c5804f8" providerId="ADAL" clId="{0DCB131B-3EFE-42DC-9206-7151797C1B48}" dt="2021-01-06T21:32:27.665" v="2190" actId="14100"/>
          <ac:cxnSpMkLst>
            <pc:docMk/>
            <pc:sldMk cId="2048718066" sldId="746"/>
            <ac:cxnSpMk id="153" creationId="{BE8D0180-3C9F-43DE-A735-6E9681C3D968}"/>
          </ac:cxnSpMkLst>
        </pc:cxnChg>
        <pc:cxnChg chg="mod">
          <ac:chgData name="Perez Diaz, Karen" userId="17027623-4de6-4c48-9453-394c2c5804f8" providerId="ADAL" clId="{0DCB131B-3EFE-42DC-9206-7151797C1B48}" dt="2021-01-06T21:32:33.446" v="2191" actId="14100"/>
          <ac:cxnSpMkLst>
            <pc:docMk/>
            <pc:sldMk cId="2048718066" sldId="746"/>
            <ac:cxnSpMk id="154" creationId="{B8C55DC1-E75A-49E4-8B2D-210BEFBDC56D}"/>
          </ac:cxnSpMkLst>
        </pc:cxnChg>
        <pc:cxnChg chg="add mod">
          <ac:chgData name="Perez Diaz, Karen" userId="17027623-4de6-4c48-9453-394c2c5804f8" providerId="ADAL" clId="{0DCB131B-3EFE-42DC-9206-7151797C1B48}" dt="2021-01-06T21:32:27.665" v="2190" actId="14100"/>
          <ac:cxnSpMkLst>
            <pc:docMk/>
            <pc:sldMk cId="2048718066" sldId="746"/>
            <ac:cxnSpMk id="155" creationId="{F8015480-B5E2-46CE-9A74-EA3DEC2E5210}"/>
          </ac:cxnSpMkLst>
        </pc:cxnChg>
        <pc:cxnChg chg="add mod">
          <ac:chgData name="Perez Diaz, Karen" userId="17027623-4de6-4c48-9453-394c2c5804f8" providerId="ADAL" clId="{0DCB131B-3EFE-42DC-9206-7151797C1B48}" dt="2021-01-06T21:32:27.665" v="2190" actId="14100"/>
          <ac:cxnSpMkLst>
            <pc:docMk/>
            <pc:sldMk cId="2048718066" sldId="746"/>
            <ac:cxnSpMk id="156" creationId="{EB8C3AAD-81D1-4DC9-AA5D-303F9E84CDBF}"/>
          </ac:cxnSpMkLst>
        </pc:cxnChg>
      </pc:sldChg>
      <pc:sldMasterChg chg="delSldLayout">
        <pc:chgData name="Perez Diaz, Karen" userId="17027623-4de6-4c48-9453-394c2c5804f8" providerId="ADAL" clId="{0DCB131B-3EFE-42DC-9206-7151797C1B48}" dt="2021-01-06T21:53:03.375" v="2347" actId="2696"/>
        <pc:sldMasterMkLst>
          <pc:docMk/>
          <pc:sldMasterMk cId="4106976396" sldId="2147483827"/>
        </pc:sldMasterMkLst>
        <pc:sldLayoutChg chg="del">
          <pc:chgData name="Perez Diaz, Karen" userId="17027623-4de6-4c48-9453-394c2c5804f8" providerId="ADAL" clId="{0DCB131B-3EFE-42DC-9206-7151797C1B48}" dt="2021-01-06T21:53:03.375" v="2347" actId="2696"/>
          <pc:sldLayoutMkLst>
            <pc:docMk/>
            <pc:sldMasterMk cId="4106976396" sldId="2147483827"/>
            <pc:sldLayoutMk cId="1651403011" sldId="2147483862"/>
          </pc:sldLayoutMkLst>
        </pc:sldLayoutChg>
      </pc:sldMasterChg>
    </pc:docChg>
  </pc:docChgLst>
  <pc:docChgLst>
    <pc:chgData name="Perez Diaz, Karen" userId="17027623-4de6-4c48-9453-394c2c5804f8" providerId="ADAL" clId="{A755515F-B52D-4BFA-B575-872A5E8C9A72}"/>
    <pc:docChg chg="custSel addSld delSld modSld">
      <pc:chgData name="Perez Diaz, Karen" userId="17027623-4de6-4c48-9453-394c2c5804f8" providerId="ADAL" clId="{A755515F-B52D-4BFA-B575-872A5E8C9A72}" dt="2021-02-02T19:21:29.434" v="295" actId="6549"/>
      <pc:docMkLst>
        <pc:docMk/>
      </pc:docMkLst>
      <pc:sldChg chg="modSp">
        <pc:chgData name="Perez Diaz, Karen" userId="17027623-4de6-4c48-9453-394c2c5804f8" providerId="ADAL" clId="{A755515F-B52D-4BFA-B575-872A5E8C9A72}" dt="2021-01-28T21:11:49.594" v="1"/>
        <pc:sldMkLst>
          <pc:docMk/>
          <pc:sldMk cId="753726229" sldId="379"/>
        </pc:sldMkLst>
        <pc:spChg chg="mod">
          <ac:chgData name="Perez Diaz, Karen" userId="17027623-4de6-4c48-9453-394c2c5804f8" providerId="ADAL" clId="{A755515F-B52D-4BFA-B575-872A5E8C9A72}" dt="2021-01-28T21:11:49.594" v="1"/>
          <ac:spMkLst>
            <pc:docMk/>
            <pc:sldMk cId="753726229" sldId="379"/>
            <ac:spMk id="38" creationId="{1A443F8F-8D68-42AA-BAEE-15BC368AA565}"/>
          </ac:spMkLst>
        </pc:spChg>
      </pc:sldChg>
      <pc:sldChg chg="modSp">
        <pc:chgData name="Perez Diaz, Karen" userId="17027623-4de6-4c48-9453-394c2c5804f8" providerId="ADAL" clId="{A755515F-B52D-4BFA-B575-872A5E8C9A72}" dt="2021-02-02T19:21:29.434" v="295" actId="6549"/>
        <pc:sldMkLst>
          <pc:docMk/>
          <pc:sldMk cId="3216517808" sldId="738"/>
        </pc:sldMkLst>
        <pc:spChg chg="mod">
          <ac:chgData name="Perez Diaz, Karen" userId="17027623-4de6-4c48-9453-394c2c5804f8" providerId="ADAL" clId="{A755515F-B52D-4BFA-B575-872A5E8C9A72}" dt="2021-02-02T19:21:29.434" v="295" actId="6549"/>
          <ac:spMkLst>
            <pc:docMk/>
            <pc:sldMk cId="3216517808" sldId="738"/>
            <ac:spMk id="3" creationId="{00000000-0000-0000-0000-000000000000}"/>
          </ac:spMkLst>
        </pc:spChg>
        <pc:spChg chg="mod">
          <ac:chgData name="Perez Diaz, Karen" userId="17027623-4de6-4c48-9453-394c2c5804f8" providerId="ADAL" clId="{A755515F-B52D-4BFA-B575-872A5E8C9A72}" dt="2021-02-02T18:23:19.262" v="294" actId="14100"/>
          <ac:spMkLst>
            <pc:docMk/>
            <pc:sldMk cId="3216517808" sldId="738"/>
            <ac:spMk id="17" creationId="{05745967-7367-4DAD-B714-7E64C7F7BAA4}"/>
          </ac:spMkLst>
        </pc:spChg>
        <pc:spChg chg="mod">
          <ac:chgData name="Perez Diaz, Karen" userId="17027623-4de6-4c48-9453-394c2c5804f8" providerId="ADAL" clId="{A755515F-B52D-4BFA-B575-872A5E8C9A72}" dt="2021-01-29T15:52:28.384" v="38"/>
          <ac:spMkLst>
            <pc:docMk/>
            <pc:sldMk cId="3216517808" sldId="738"/>
            <ac:spMk id="24" creationId="{05745967-7367-4DAD-B714-7E64C7F7BAA4}"/>
          </ac:spMkLst>
        </pc:spChg>
      </pc:sldChg>
      <pc:sldChg chg="add">
        <pc:chgData name="Perez Diaz, Karen" userId="17027623-4de6-4c48-9453-394c2c5804f8" providerId="ADAL" clId="{A755515F-B52D-4BFA-B575-872A5E8C9A72}" dt="2021-01-28T22:10:47.014" v="29"/>
        <pc:sldMkLst>
          <pc:docMk/>
          <pc:sldMk cId="240251484" sldId="742"/>
        </pc:sldMkLst>
      </pc:sldChg>
      <pc:sldChg chg="addSp delSp modSp">
        <pc:chgData name="Perez Diaz, Karen" userId="17027623-4de6-4c48-9453-394c2c5804f8" providerId="ADAL" clId="{A755515F-B52D-4BFA-B575-872A5E8C9A72}" dt="2021-01-28T22:04:38.103" v="27"/>
        <pc:sldMkLst>
          <pc:docMk/>
          <pc:sldMk cId="881379272" sldId="742"/>
        </pc:sldMkLst>
        <pc:spChg chg="add del">
          <ac:chgData name="Perez Diaz, Karen" userId="17027623-4de6-4c48-9453-394c2c5804f8" providerId="ADAL" clId="{A755515F-B52D-4BFA-B575-872A5E8C9A72}" dt="2021-01-28T22:04:38.103" v="27"/>
          <ac:spMkLst>
            <pc:docMk/>
            <pc:sldMk cId="881379272" sldId="742"/>
            <ac:spMk id="53" creationId="{567E869C-1303-4F75-9CD9-3BAB12A58DCB}"/>
          </ac:spMkLst>
        </pc:spChg>
        <pc:spChg chg="add del mod">
          <ac:chgData name="Perez Diaz, Karen" userId="17027623-4de6-4c48-9453-394c2c5804f8" providerId="ADAL" clId="{A755515F-B52D-4BFA-B575-872A5E8C9A72}" dt="2021-01-28T22:04:37.703" v="26" actId="571"/>
          <ac:spMkLst>
            <pc:docMk/>
            <pc:sldMk cId="881379272" sldId="742"/>
            <ac:spMk id="54" creationId="{CFF03B76-4F6E-40A7-91E1-F1E7503D74D4}"/>
          </ac:spMkLst>
        </pc:spChg>
      </pc:sldChg>
      <pc:sldChg chg="addSp modSp">
        <pc:chgData name="Perez Diaz, Karen" userId="17027623-4de6-4c48-9453-394c2c5804f8" providerId="ADAL" clId="{A755515F-B52D-4BFA-B575-872A5E8C9A72}" dt="2021-01-28T22:04:19.386" v="21" actId="571"/>
        <pc:sldMkLst>
          <pc:docMk/>
          <pc:sldMk cId="1470794818" sldId="748"/>
        </pc:sldMkLst>
        <pc:spChg chg="add mod">
          <ac:chgData name="Perez Diaz, Karen" userId="17027623-4de6-4c48-9453-394c2c5804f8" providerId="ADAL" clId="{A755515F-B52D-4BFA-B575-872A5E8C9A72}" dt="2021-01-28T22:04:19.386" v="21" actId="571"/>
          <ac:spMkLst>
            <pc:docMk/>
            <pc:sldMk cId="1470794818" sldId="748"/>
            <ac:spMk id="73" creationId="{25539655-BE62-4D74-BCF9-DC81F748C450}"/>
          </ac:spMkLst>
        </pc:spChg>
      </pc:sldChg>
      <pc:sldChg chg="addSp delSp modSp">
        <pc:chgData name="Perez Diaz, Karen" userId="17027623-4de6-4c48-9453-394c2c5804f8" providerId="ADAL" clId="{A755515F-B52D-4BFA-B575-872A5E8C9A72}" dt="2021-02-01T20:17:43.671" v="235" actId="1076"/>
        <pc:sldMkLst>
          <pc:docMk/>
          <pc:sldMk cId="3266835802" sldId="750"/>
        </pc:sldMkLst>
        <pc:spChg chg="mod">
          <ac:chgData name="Perez Diaz, Karen" userId="17027623-4de6-4c48-9453-394c2c5804f8" providerId="ADAL" clId="{A755515F-B52D-4BFA-B575-872A5E8C9A72}" dt="2021-01-28T21:46:04.456" v="8" actId="164"/>
          <ac:spMkLst>
            <pc:docMk/>
            <pc:sldMk cId="3266835802" sldId="750"/>
            <ac:spMk id="6" creationId="{46EE6365-81AD-4FCA-A5B9-4F4D0C586289}"/>
          </ac:spMkLst>
        </pc:spChg>
        <pc:spChg chg="mod">
          <ac:chgData name="Perez Diaz, Karen" userId="17027623-4de6-4c48-9453-394c2c5804f8" providerId="ADAL" clId="{A755515F-B52D-4BFA-B575-872A5E8C9A72}" dt="2021-01-28T21:46:04.456" v="8" actId="164"/>
          <ac:spMkLst>
            <pc:docMk/>
            <pc:sldMk cId="3266835802" sldId="750"/>
            <ac:spMk id="7" creationId="{CBBEE985-DFA9-4335-84E8-9CC49B0EB534}"/>
          </ac:spMkLst>
        </pc:spChg>
        <pc:spChg chg="mod">
          <ac:chgData name="Perez Diaz, Karen" userId="17027623-4de6-4c48-9453-394c2c5804f8" providerId="ADAL" clId="{A755515F-B52D-4BFA-B575-872A5E8C9A72}" dt="2021-01-28T21:46:04.456" v="8" actId="164"/>
          <ac:spMkLst>
            <pc:docMk/>
            <pc:sldMk cId="3266835802" sldId="750"/>
            <ac:spMk id="8" creationId="{0AEC7480-7499-442D-9B7F-9286FAFB0818}"/>
          </ac:spMkLst>
        </pc:spChg>
        <pc:spChg chg="mod">
          <ac:chgData name="Perez Diaz, Karen" userId="17027623-4de6-4c48-9453-394c2c5804f8" providerId="ADAL" clId="{A755515F-B52D-4BFA-B575-872A5E8C9A72}" dt="2021-01-28T21:46:04.456" v="8" actId="164"/>
          <ac:spMkLst>
            <pc:docMk/>
            <pc:sldMk cId="3266835802" sldId="750"/>
            <ac:spMk id="9" creationId="{AD31964D-E5E9-49A2-B1C4-DFCAC54C0BAF}"/>
          </ac:spMkLst>
        </pc:spChg>
        <pc:spChg chg="mod">
          <ac:chgData name="Perez Diaz, Karen" userId="17027623-4de6-4c48-9453-394c2c5804f8" providerId="ADAL" clId="{A755515F-B52D-4BFA-B575-872A5E8C9A72}" dt="2021-01-28T21:46:04.456" v="8" actId="164"/>
          <ac:spMkLst>
            <pc:docMk/>
            <pc:sldMk cId="3266835802" sldId="750"/>
            <ac:spMk id="10" creationId="{EE9C9ED5-ABCE-4FDB-86CF-FDFC75DD74BD}"/>
          </ac:spMkLst>
        </pc:spChg>
        <pc:spChg chg="mod">
          <ac:chgData name="Perez Diaz, Karen" userId="17027623-4de6-4c48-9453-394c2c5804f8" providerId="ADAL" clId="{A755515F-B52D-4BFA-B575-872A5E8C9A72}" dt="2021-01-28T21:46:25.393" v="11" actId="164"/>
          <ac:spMkLst>
            <pc:docMk/>
            <pc:sldMk cId="3266835802" sldId="750"/>
            <ac:spMk id="12" creationId="{FE80D894-D049-4249-89C3-2CB429A7EF23}"/>
          </ac:spMkLst>
        </pc:spChg>
        <pc:spChg chg="mod">
          <ac:chgData name="Perez Diaz, Karen" userId="17027623-4de6-4c48-9453-394c2c5804f8" providerId="ADAL" clId="{A755515F-B52D-4BFA-B575-872A5E8C9A72}" dt="2021-01-28T21:46:25.393" v="11" actId="164"/>
          <ac:spMkLst>
            <pc:docMk/>
            <pc:sldMk cId="3266835802" sldId="750"/>
            <ac:spMk id="14" creationId="{F6B3E33B-279A-4B57-A0C7-AFD4CB2BA78F}"/>
          </ac:spMkLst>
        </pc:spChg>
        <pc:spChg chg="mod topLvl">
          <ac:chgData name="Perez Diaz, Karen" userId="17027623-4de6-4c48-9453-394c2c5804f8" providerId="ADAL" clId="{A755515F-B52D-4BFA-B575-872A5E8C9A72}" dt="2021-01-28T21:30:33.499" v="5" actId="165"/>
          <ac:spMkLst>
            <pc:docMk/>
            <pc:sldMk cId="3266835802" sldId="750"/>
            <ac:spMk id="16" creationId="{0A6DB9FC-2790-49F5-96BC-671A635F376F}"/>
          </ac:spMkLst>
        </pc:spChg>
        <pc:spChg chg="mod topLvl">
          <ac:chgData name="Perez Diaz, Karen" userId="17027623-4de6-4c48-9453-394c2c5804f8" providerId="ADAL" clId="{A755515F-B52D-4BFA-B575-872A5E8C9A72}" dt="2021-01-28T21:30:33.499" v="5" actId="165"/>
          <ac:spMkLst>
            <pc:docMk/>
            <pc:sldMk cId="3266835802" sldId="750"/>
            <ac:spMk id="32" creationId="{C23CAF40-5081-4672-BB4F-CE5D10092D0A}"/>
          </ac:spMkLst>
        </pc:spChg>
        <pc:spChg chg="mod topLvl">
          <ac:chgData name="Perez Diaz, Karen" userId="17027623-4de6-4c48-9453-394c2c5804f8" providerId="ADAL" clId="{A755515F-B52D-4BFA-B575-872A5E8C9A72}" dt="2021-01-28T21:30:33.499" v="5" actId="165"/>
          <ac:spMkLst>
            <pc:docMk/>
            <pc:sldMk cId="3266835802" sldId="750"/>
            <ac:spMk id="33" creationId="{EA2C1C74-8715-4291-B19D-B1A652C9088A}"/>
          </ac:spMkLst>
        </pc:spChg>
        <pc:spChg chg="del mod topLvl">
          <ac:chgData name="Perez Diaz, Karen" userId="17027623-4de6-4c48-9453-394c2c5804f8" providerId="ADAL" clId="{A755515F-B52D-4BFA-B575-872A5E8C9A72}" dt="2021-02-01T19:52:39.798" v="97" actId="478"/>
          <ac:spMkLst>
            <pc:docMk/>
            <pc:sldMk cId="3266835802" sldId="750"/>
            <ac:spMk id="34" creationId="{382E8A01-BEF3-48DC-8ADF-624A68CB482B}"/>
          </ac:spMkLst>
        </pc:spChg>
        <pc:spChg chg="mod">
          <ac:chgData name="Perez Diaz, Karen" userId="17027623-4de6-4c48-9453-394c2c5804f8" providerId="ADAL" clId="{A755515F-B52D-4BFA-B575-872A5E8C9A72}" dt="2021-01-28T21:46:04.456" v="8" actId="164"/>
          <ac:spMkLst>
            <pc:docMk/>
            <pc:sldMk cId="3266835802" sldId="750"/>
            <ac:spMk id="36" creationId="{B1C07FB1-E4F7-46B0-9153-B6C0A2878CC2}"/>
          </ac:spMkLst>
        </pc:spChg>
        <pc:spChg chg="mod topLvl">
          <ac:chgData name="Perez Diaz, Karen" userId="17027623-4de6-4c48-9453-394c2c5804f8" providerId="ADAL" clId="{A755515F-B52D-4BFA-B575-872A5E8C9A72}" dt="2021-01-28T21:30:33.499" v="5" actId="165"/>
          <ac:spMkLst>
            <pc:docMk/>
            <pc:sldMk cId="3266835802" sldId="750"/>
            <ac:spMk id="45" creationId="{3343FEFB-7C1D-4798-BA26-F401C7045C50}"/>
          </ac:spMkLst>
        </pc:spChg>
        <pc:spChg chg="mod topLvl">
          <ac:chgData name="Perez Diaz, Karen" userId="17027623-4de6-4c48-9453-394c2c5804f8" providerId="ADAL" clId="{A755515F-B52D-4BFA-B575-872A5E8C9A72}" dt="2021-01-28T21:30:33.499" v="5" actId="165"/>
          <ac:spMkLst>
            <pc:docMk/>
            <pc:sldMk cId="3266835802" sldId="750"/>
            <ac:spMk id="50" creationId="{75207217-91AF-4E8B-A9E8-A32EC790D29A}"/>
          </ac:spMkLst>
        </pc:spChg>
        <pc:spChg chg="add del">
          <ac:chgData name="Perez Diaz, Karen" userId="17027623-4de6-4c48-9453-394c2c5804f8" providerId="ADAL" clId="{A755515F-B52D-4BFA-B575-872A5E8C9A72}" dt="2021-02-01T20:16:42.966" v="193" actId="478"/>
          <ac:spMkLst>
            <pc:docMk/>
            <pc:sldMk cId="3266835802" sldId="750"/>
            <ac:spMk id="66" creationId="{743F78C0-3B08-4C48-B8C6-5AEFFF5F238F}"/>
          </ac:spMkLst>
        </pc:spChg>
        <pc:spChg chg="add del">
          <ac:chgData name="Perez Diaz, Karen" userId="17027623-4de6-4c48-9453-394c2c5804f8" providerId="ADAL" clId="{A755515F-B52D-4BFA-B575-872A5E8C9A72}" dt="2021-02-01T20:16:42.966" v="193" actId="478"/>
          <ac:spMkLst>
            <pc:docMk/>
            <pc:sldMk cId="3266835802" sldId="750"/>
            <ac:spMk id="67" creationId="{44C8F57B-1CBF-42FE-A20A-3BAFDA41B9C7}"/>
          </ac:spMkLst>
        </pc:spChg>
        <pc:spChg chg="add">
          <ac:chgData name="Perez Diaz, Karen" userId="17027623-4de6-4c48-9453-394c2c5804f8" providerId="ADAL" clId="{A755515F-B52D-4BFA-B575-872A5E8C9A72}" dt="2021-02-01T20:16:43.498" v="194"/>
          <ac:spMkLst>
            <pc:docMk/>
            <pc:sldMk cId="3266835802" sldId="750"/>
            <ac:spMk id="68" creationId="{16EA6BED-2D6C-4E30-8266-02246F4EC26E}"/>
          </ac:spMkLst>
        </pc:spChg>
        <pc:spChg chg="mod topLvl">
          <ac:chgData name="Perez Diaz, Karen" userId="17027623-4de6-4c48-9453-394c2c5804f8" providerId="ADAL" clId="{A755515F-B52D-4BFA-B575-872A5E8C9A72}" dt="2021-01-28T21:30:33.499" v="5" actId="165"/>
          <ac:spMkLst>
            <pc:docMk/>
            <pc:sldMk cId="3266835802" sldId="750"/>
            <ac:spMk id="69" creationId="{D660A072-DFBB-4936-95BF-01DEE4F7CF2D}"/>
          </ac:spMkLst>
        </pc:spChg>
        <pc:spChg chg="add">
          <ac:chgData name="Perez Diaz, Karen" userId="17027623-4de6-4c48-9453-394c2c5804f8" providerId="ADAL" clId="{A755515F-B52D-4BFA-B575-872A5E8C9A72}" dt="2021-02-01T20:16:43.498" v="194"/>
          <ac:spMkLst>
            <pc:docMk/>
            <pc:sldMk cId="3266835802" sldId="750"/>
            <ac:spMk id="70" creationId="{2832328B-95D4-4F45-862C-4F5C29649A9E}"/>
          </ac:spMkLst>
        </pc:spChg>
        <pc:spChg chg="add">
          <ac:chgData name="Perez Diaz, Karen" userId="17027623-4de6-4c48-9453-394c2c5804f8" providerId="ADAL" clId="{A755515F-B52D-4BFA-B575-872A5E8C9A72}" dt="2021-01-28T21:26:22.382" v="3"/>
          <ac:spMkLst>
            <pc:docMk/>
            <pc:sldMk cId="3266835802" sldId="750"/>
            <ac:spMk id="83" creationId="{D5DDF7CE-397E-46B2-B66C-4EA06546A479}"/>
          </ac:spMkLst>
        </pc:spChg>
        <pc:spChg chg="add">
          <ac:chgData name="Perez Diaz, Karen" userId="17027623-4de6-4c48-9453-394c2c5804f8" providerId="ADAL" clId="{A755515F-B52D-4BFA-B575-872A5E8C9A72}" dt="2021-01-28T21:26:22.382" v="3"/>
          <ac:spMkLst>
            <pc:docMk/>
            <pc:sldMk cId="3266835802" sldId="750"/>
            <ac:spMk id="84" creationId="{F9FC18E3-4FC7-4F15-9A05-D568A39645CA}"/>
          </ac:spMkLst>
        </pc:spChg>
        <pc:spChg chg="add">
          <ac:chgData name="Perez Diaz, Karen" userId="17027623-4de6-4c48-9453-394c2c5804f8" providerId="ADAL" clId="{A755515F-B52D-4BFA-B575-872A5E8C9A72}" dt="2021-01-28T21:26:22.382" v="3"/>
          <ac:spMkLst>
            <pc:docMk/>
            <pc:sldMk cId="3266835802" sldId="750"/>
            <ac:spMk id="85" creationId="{0ED3C1F7-D5E5-4BCA-AF01-DAE5DF068C84}"/>
          </ac:spMkLst>
        </pc:spChg>
        <pc:spChg chg="add">
          <ac:chgData name="Perez Diaz, Karen" userId="17027623-4de6-4c48-9453-394c2c5804f8" providerId="ADAL" clId="{A755515F-B52D-4BFA-B575-872A5E8C9A72}" dt="2021-01-28T21:26:22.382" v="3"/>
          <ac:spMkLst>
            <pc:docMk/>
            <pc:sldMk cId="3266835802" sldId="750"/>
            <ac:spMk id="86" creationId="{3C48546E-0764-4FC6-9E2A-20B6C6BA914A}"/>
          </ac:spMkLst>
        </pc:spChg>
        <pc:spChg chg="add mod">
          <ac:chgData name="Perez Diaz, Karen" userId="17027623-4de6-4c48-9453-394c2c5804f8" providerId="ADAL" clId="{A755515F-B52D-4BFA-B575-872A5E8C9A72}" dt="2021-01-28T21:44:10.994" v="7" actId="571"/>
          <ac:spMkLst>
            <pc:docMk/>
            <pc:sldMk cId="3266835802" sldId="750"/>
            <ac:spMk id="98" creationId="{5B69AA66-0CEA-4C45-96B4-F2A8DD5B6FB2}"/>
          </ac:spMkLst>
        </pc:spChg>
        <pc:spChg chg="add del">
          <ac:chgData name="Perez Diaz, Karen" userId="17027623-4de6-4c48-9453-394c2c5804f8" providerId="ADAL" clId="{A755515F-B52D-4BFA-B575-872A5E8C9A72}" dt="2021-01-28T21:46:18.588" v="10"/>
          <ac:spMkLst>
            <pc:docMk/>
            <pc:sldMk cId="3266835802" sldId="750"/>
            <ac:spMk id="103" creationId="{57ADC561-FD6C-4670-ADCC-DA9C75065A95}"/>
          </ac:spMkLst>
        </pc:spChg>
        <pc:spChg chg="add del">
          <ac:chgData name="Perez Diaz, Karen" userId="17027623-4de6-4c48-9453-394c2c5804f8" providerId="ADAL" clId="{A755515F-B52D-4BFA-B575-872A5E8C9A72}" dt="2021-01-28T21:46:18.588" v="10"/>
          <ac:spMkLst>
            <pc:docMk/>
            <pc:sldMk cId="3266835802" sldId="750"/>
            <ac:spMk id="104" creationId="{35C86A2C-680A-4BCA-98CD-EB3D5DF84B8E}"/>
          </ac:spMkLst>
        </pc:spChg>
        <pc:spChg chg="add mod">
          <ac:chgData name="Perez Diaz, Karen" userId="17027623-4de6-4c48-9453-394c2c5804f8" providerId="ADAL" clId="{A755515F-B52D-4BFA-B575-872A5E8C9A72}" dt="2021-02-01T20:17:43.671" v="235" actId="1076"/>
          <ac:spMkLst>
            <pc:docMk/>
            <pc:sldMk cId="3266835802" sldId="750"/>
            <ac:spMk id="175" creationId="{3859F0A8-9599-4070-90DE-20D3E04792D8}"/>
          </ac:spMkLst>
        </pc:spChg>
        <pc:spChg chg="add mod">
          <ac:chgData name="Perez Diaz, Karen" userId="17027623-4de6-4c48-9453-394c2c5804f8" providerId="ADAL" clId="{A755515F-B52D-4BFA-B575-872A5E8C9A72}" dt="2021-02-01T20:16:46.607" v="195" actId="14100"/>
          <ac:spMkLst>
            <pc:docMk/>
            <pc:sldMk cId="3266835802" sldId="750"/>
            <ac:spMk id="202" creationId="{B5CA336B-A1BF-4871-8150-E9B291B6724C}"/>
          </ac:spMkLst>
        </pc:spChg>
        <pc:grpChg chg="del">
          <ac:chgData name="Perez Diaz, Karen" userId="17027623-4de6-4c48-9453-394c2c5804f8" providerId="ADAL" clId="{A755515F-B52D-4BFA-B575-872A5E8C9A72}" dt="2021-01-28T21:30:33.499" v="5" actId="165"/>
          <ac:grpSpMkLst>
            <pc:docMk/>
            <pc:sldMk cId="3266835802" sldId="750"/>
            <ac:grpSpMk id="21" creationId="{9D6DA8C5-2116-432C-BA28-25EE6D29583D}"/>
          </ac:grpSpMkLst>
        </pc:grpChg>
        <pc:grpChg chg="del mod topLvl">
          <ac:chgData name="Perez Diaz, Karen" userId="17027623-4de6-4c48-9453-394c2c5804f8" providerId="ADAL" clId="{A755515F-B52D-4BFA-B575-872A5E8C9A72}" dt="2021-02-01T19:52:39.798" v="97" actId="478"/>
          <ac:grpSpMkLst>
            <pc:docMk/>
            <pc:sldMk cId="3266835802" sldId="750"/>
            <ac:grpSpMk id="26" creationId="{899AB3C6-D04B-467B-80AD-71290C5FD607}"/>
          </ac:grpSpMkLst>
        </pc:grpChg>
        <pc:grpChg chg="add mod">
          <ac:chgData name="Perez Diaz, Karen" userId="17027623-4de6-4c48-9453-394c2c5804f8" providerId="ADAL" clId="{A755515F-B52D-4BFA-B575-872A5E8C9A72}" dt="2021-01-28T21:46:25.393" v="11" actId="164"/>
          <ac:grpSpMkLst>
            <pc:docMk/>
            <pc:sldMk cId="3266835802" sldId="750"/>
            <ac:grpSpMk id="44" creationId="{309C656C-07A6-4CB9-A6F1-98F2437FD1D2}"/>
          </ac:grpSpMkLst>
        </pc:grpChg>
        <pc:grpChg chg="add mod">
          <ac:chgData name="Perez Diaz, Karen" userId="17027623-4de6-4c48-9453-394c2c5804f8" providerId="ADAL" clId="{A755515F-B52D-4BFA-B575-872A5E8C9A72}" dt="2021-01-28T21:46:25.393" v="11" actId="164"/>
          <ac:grpSpMkLst>
            <pc:docMk/>
            <pc:sldMk cId="3266835802" sldId="750"/>
            <ac:grpSpMk id="46" creationId="{29DC4481-8BE0-409E-BF4B-E164188DC5BC}"/>
          </ac:grpSpMkLst>
        </pc:grpChg>
        <pc:grpChg chg="mod topLvl">
          <ac:chgData name="Perez Diaz, Karen" userId="17027623-4de6-4c48-9453-394c2c5804f8" providerId="ADAL" clId="{A755515F-B52D-4BFA-B575-872A5E8C9A72}" dt="2021-01-28T21:30:33.499" v="5" actId="165"/>
          <ac:grpSpMkLst>
            <pc:docMk/>
            <pc:sldMk cId="3266835802" sldId="750"/>
            <ac:grpSpMk id="59" creationId="{C41B3DFB-F3AE-4D87-9B8C-C3589EDBC3BF}"/>
          </ac:grpSpMkLst>
        </pc:grpChg>
        <pc:grpChg chg="add del mod">
          <ac:chgData name="Perez Diaz, Karen" userId="17027623-4de6-4c48-9453-394c2c5804f8" providerId="ADAL" clId="{A755515F-B52D-4BFA-B575-872A5E8C9A72}" dt="2021-01-28T21:46:18.588" v="10"/>
          <ac:grpSpMkLst>
            <pc:docMk/>
            <pc:sldMk cId="3266835802" sldId="750"/>
            <ac:grpSpMk id="127" creationId="{FE9ADD5D-914F-4598-92E6-BE9E2E231C82}"/>
          </ac:grpSpMkLst>
        </pc:grpChg>
        <pc:grpChg chg="add del mod">
          <ac:chgData name="Perez Diaz, Karen" userId="17027623-4de6-4c48-9453-394c2c5804f8" providerId="ADAL" clId="{A755515F-B52D-4BFA-B575-872A5E8C9A72}" dt="2021-01-28T21:46:35.203" v="13"/>
          <ac:grpSpMkLst>
            <pc:docMk/>
            <pc:sldMk cId="3266835802" sldId="750"/>
            <ac:grpSpMk id="131" creationId="{FA8A9099-1E3E-423F-B713-239DC0E3BD6B}"/>
          </ac:grpSpMkLst>
        </pc:grpChg>
        <pc:grpChg chg="mod">
          <ac:chgData name="Perez Diaz, Karen" userId="17027623-4de6-4c48-9453-394c2c5804f8" providerId="ADAL" clId="{A755515F-B52D-4BFA-B575-872A5E8C9A72}" dt="2021-01-28T21:46:27.223" v="12"/>
          <ac:grpSpMkLst>
            <pc:docMk/>
            <pc:sldMk cId="3266835802" sldId="750"/>
            <ac:grpSpMk id="137" creationId="{8C1CB67B-4E9B-415C-A561-51DCB2A1FAD5}"/>
          </ac:grpSpMkLst>
        </pc:grpChg>
        <pc:grpChg chg="mod">
          <ac:chgData name="Perez Diaz, Karen" userId="17027623-4de6-4c48-9453-394c2c5804f8" providerId="ADAL" clId="{A755515F-B52D-4BFA-B575-872A5E8C9A72}" dt="2021-01-28T21:46:27.223" v="12"/>
          <ac:grpSpMkLst>
            <pc:docMk/>
            <pc:sldMk cId="3266835802" sldId="750"/>
            <ac:grpSpMk id="140" creationId="{5A01FE0F-BF6F-4EAE-8673-F7FFC0F0E46D}"/>
          </ac:grpSpMkLst>
        </pc:grpChg>
        <pc:grpChg chg="add mod">
          <ac:chgData name="Perez Diaz, Karen" userId="17027623-4de6-4c48-9453-394c2c5804f8" providerId="ADAL" clId="{A755515F-B52D-4BFA-B575-872A5E8C9A72}" dt="2021-01-28T21:46:38.543" v="14"/>
          <ac:grpSpMkLst>
            <pc:docMk/>
            <pc:sldMk cId="3266835802" sldId="750"/>
            <ac:grpSpMk id="150" creationId="{BB52C84E-B598-4330-992D-62D2F219AAD5}"/>
          </ac:grpSpMkLst>
        </pc:grpChg>
        <pc:grpChg chg="mod">
          <ac:chgData name="Perez Diaz, Karen" userId="17027623-4de6-4c48-9453-394c2c5804f8" providerId="ADAL" clId="{A755515F-B52D-4BFA-B575-872A5E8C9A72}" dt="2021-01-28T21:46:38.543" v="14"/>
          <ac:grpSpMkLst>
            <pc:docMk/>
            <pc:sldMk cId="3266835802" sldId="750"/>
            <ac:grpSpMk id="156" creationId="{0C64742B-27AD-4923-8FF7-8C15DDA3E47C}"/>
          </ac:grpSpMkLst>
        </pc:grpChg>
        <pc:grpChg chg="mod">
          <ac:chgData name="Perez Diaz, Karen" userId="17027623-4de6-4c48-9453-394c2c5804f8" providerId="ADAL" clId="{A755515F-B52D-4BFA-B575-872A5E8C9A72}" dt="2021-01-28T21:46:38.543" v="14"/>
          <ac:grpSpMkLst>
            <pc:docMk/>
            <pc:sldMk cId="3266835802" sldId="750"/>
            <ac:grpSpMk id="159" creationId="{D86746B5-70FB-401B-9464-11D1B394AE1D}"/>
          </ac:grpSpMkLst>
        </pc:grpChg>
        <pc:grpChg chg="add del">
          <ac:chgData name="Perez Diaz, Karen" userId="17027623-4de6-4c48-9453-394c2c5804f8" providerId="ADAL" clId="{A755515F-B52D-4BFA-B575-872A5E8C9A72}" dt="2021-01-28T22:03:56.687" v="19"/>
          <ac:grpSpMkLst>
            <pc:docMk/>
            <pc:sldMk cId="3266835802" sldId="750"/>
            <ac:grpSpMk id="182" creationId="{2C8B922A-F618-477F-BABE-45DDE66072E2}"/>
          </ac:grpSpMkLst>
        </pc:grpChg>
        <pc:grpChg chg="mod">
          <ac:chgData name="Perez Diaz, Karen" userId="17027623-4de6-4c48-9453-394c2c5804f8" providerId="ADAL" clId="{A755515F-B52D-4BFA-B575-872A5E8C9A72}" dt="2021-01-28T21:46:25.393" v="11" actId="164"/>
          <ac:grpSpMkLst>
            <pc:docMk/>
            <pc:sldMk cId="3266835802" sldId="750"/>
            <ac:grpSpMk id="217" creationId="{9E5C4412-7EC4-487F-854E-0A306D3FA7D8}"/>
          </ac:grpSpMkLst>
        </pc:grpChg>
        <pc:cxnChg chg="mod">
          <ac:chgData name="Perez Diaz, Karen" userId="17027623-4de6-4c48-9453-394c2c5804f8" providerId="ADAL" clId="{A755515F-B52D-4BFA-B575-872A5E8C9A72}" dt="2021-01-28T21:46:25.393" v="11" actId="164"/>
          <ac:cxnSpMkLst>
            <pc:docMk/>
            <pc:sldMk cId="3266835802" sldId="750"/>
            <ac:cxnSpMk id="20" creationId="{348D7C3F-B83C-43A8-9D28-CCC9C4BBB069}"/>
          </ac:cxnSpMkLst>
        </pc:cxnChg>
        <pc:cxnChg chg="mod">
          <ac:chgData name="Perez Diaz, Karen" userId="17027623-4de6-4c48-9453-394c2c5804f8" providerId="ADAL" clId="{A755515F-B52D-4BFA-B575-872A5E8C9A72}" dt="2021-01-28T21:46:25.393" v="11" actId="164"/>
          <ac:cxnSpMkLst>
            <pc:docMk/>
            <pc:sldMk cId="3266835802" sldId="750"/>
            <ac:cxnSpMk id="25" creationId="{0FD92F1F-404B-4B75-922F-DC7CBDD99712}"/>
          </ac:cxnSpMkLst>
        </pc:cxnChg>
        <pc:cxnChg chg="mod">
          <ac:chgData name="Perez Diaz, Karen" userId="17027623-4de6-4c48-9453-394c2c5804f8" providerId="ADAL" clId="{A755515F-B52D-4BFA-B575-872A5E8C9A72}" dt="2021-01-28T21:46:25.393" v="11" actId="164"/>
          <ac:cxnSpMkLst>
            <pc:docMk/>
            <pc:sldMk cId="3266835802" sldId="750"/>
            <ac:cxnSpMk id="27" creationId="{241AE13A-CC4B-4DEF-B58D-790536D65968}"/>
          </ac:cxnSpMkLst>
        </pc:cxnChg>
        <pc:cxnChg chg="mod">
          <ac:chgData name="Perez Diaz, Karen" userId="17027623-4de6-4c48-9453-394c2c5804f8" providerId="ADAL" clId="{A755515F-B52D-4BFA-B575-872A5E8C9A72}" dt="2021-01-28T21:46:25.393" v="11" actId="164"/>
          <ac:cxnSpMkLst>
            <pc:docMk/>
            <pc:sldMk cId="3266835802" sldId="750"/>
            <ac:cxnSpMk id="31" creationId="{8FEF314A-9932-4F10-8E0C-6B6DF5F71CD9}"/>
          </ac:cxnSpMkLst>
        </pc:cxnChg>
        <pc:cxnChg chg="del mod">
          <ac:chgData name="Perez Diaz, Karen" userId="17027623-4de6-4c48-9453-394c2c5804f8" providerId="ADAL" clId="{A755515F-B52D-4BFA-B575-872A5E8C9A72}" dt="2021-02-01T19:52:42.098" v="98" actId="478"/>
          <ac:cxnSpMkLst>
            <pc:docMk/>
            <pc:sldMk cId="3266835802" sldId="750"/>
            <ac:cxnSpMk id="52" creationId="{9A801628-898B-4840-8337-E3F4FCEE2F10}"/>
          </ac:cxnSpMkLst>
        </pc:cxnChg>
        <pc:cxnChg chg="add del mod">
          <ac:chgData name="Perez Diaz, Karen" userId="17027623-4de6-4c48-9453-394c2c5804f8" providerId="ADAL" clId="{A755515F-B52D-4BFA-B575-872A5E8C9A72}" dt="2021-02-01T20:16:42.966" v="193" actId="478"/>
          <ac:cxnSpMkLst>
            <pc:docMk/>
            <pc:sldMk cId="3266835802" sldId="750"/>
            <ac:cxnSpMk id="64" creationId="{97596D6F-24DD-49DF-BD5A-D934D3224C3A}"/>
          </ac:cxnSpMkLst>
        </pc:cxnChg>
        <pc:cxnChg chg="mod">
          <ac:chgData name="Perez Diaz, Karen" userId="17027623-4de6-4c48-9453-394c2c5804f8" providerId="ADAL" clId="{A755515F-B52D-4BFA-B575-872A5E8C9A72}" dt="2021-01-28T21:46:25.393" v="11" actId="164"/>
          <ac:cxnSpMkLst>
            <pc:docMk/>
            <pc:sldMk cId="3266835802" sldId="750"/>
            <ac:cxnSpMk id="65" creationId="{9F79DEE4-32EB-4954-BB88-47EAFD90F0F2}"/>
          </ac:cxnSpMkLst>
        </pc:cxnChg>
        <pc:cxnChg chg="add">
          <ac:chgData name="Perez Diaz, Karen" userId="17027623-4de6-4c48-9453-394c2c5804f8" providerId="ADAL" clId="{A755515F-B52D-4BFA-B575-872A5E8C9A72}" dt="2021-02-01T20:16:43.498" v="194"/>
          <ac:cxnSpMkLst>
            <pc:docMk/>
            <pc:sldMk cId="3266835802" sldId="750"/>
            <ac:cxnSpMk id="69" creationId="{6A83FA19-9E8A-45B3-B06B-3B6E6E7C4B63}"/>
          </ac:cxnSpMkLst>
        </pc:cxnChg>
        <pc:cxnChg chg="add">
          <ac:chgData name="Perez Diaz, Karen" userId="17027623-4de6-4c48-9453-394c2c5804f8" providerId="ADAL" clId="{A755515F-B52D-4BFA-B575-872A5E8C9A72}" dt="2021-01-28T21:26:50.179" v="4"/>
          <ac:cxnSpMkLst>
            <pc:docMk/>
            <pc:sldMk cId="3266835802" sldId="750"/>
            <ac:cxnSpMk id="87" creationId="{61460927-6BA0-4FD7-8EF2-8710CEB07E58}"/>
          </ac:cxnSpMkLst>
        </pc:cxnChg>
        <pc:cxnChg chg="add">
          <ac:chgData name="Perez Diaz, Karen" userId="17027623-4de6-4c48-9453-394c2c5804f8" providerId="ADAL" clId="{A755515F-B52D-4BFA-B575-872A5E8C9A72}" dt="2021-01-28T21:26:50.179" v="4"/>
          <ac:cxnSpMkLst>
            <pc:docMk/>
            <pc:sldMk cId="3266835802" sldId="750"/>
            <ac:cxnSpMk id="88" creationId="{0BBB2A7E-A704-4631-97DE-22F838C39143}"/>
          </ac:cxnSpMkLst>
        </pc:cxnChg>
        <pc:cxnChg chg="add mod">
          <ac:chgData name="Perez Diaz, Karen" userId="17027623-4de6-4c48-9453-394c2c5804f8" providerId="ADAL" clId="{A755515F-B52D-4BFA-B575-872A5E8C9A72}" dt="2021-01-28T21:51:10.269" v="16" actId="11529"/>
          <ac:cxnSpMkLst>
            <pc:docMk/>
            <pc:sldMk cId="3266835802" sldId="750"/>
            <ac:cxnSpMk id="90" creationId="{B62C4502-AC81-4B5C-B201-F71E51274206}"/>
          </ac:cxnSpMkLst>
        </pc:cxnChg>
        <pc:cxnChg chg="add del">
          <ac:chgData name="Perez Diaz, Karen" userId="17027623-4de6-4c48-9453-394c2c5804f8" providerId="ADAL" clId="{A755515F-B52D-4BFA-B575-872A5E8C9A72}" dt="2021-01-28T21:46:18.588" v="10"/>
          <ac:cxnSpMkLst>
            <pc:docMk/>
            <pc:sldMk cId="3266835802" sldId="750"/>
            <ac:cxnSpMk id="122" creationId="{BA5BC009-5BEC-432A-8E16-360116C45D0C}"/>
          </ac:cxnSpMkLst>
        </pc:cxnChg>
        <pc:cxnChg chg="add del">
          <ac:chgData name="Perez Diaz, Karen" userId="17027623-4de6-4c48-9453-394c2c5804f8" providerId="ADAL" clId="{A755515F-B52D-4BFA-B575-872A5E8C9A72}" dt="2021-01-28T21:46:18.588" v="10"/>
          <ac:cxnSpMkLst>
            <pc:docMk/>
            <pc:sldMk cId="3266835802" sldId="750"/>
            <ac:cxnSpMk id="123" creationId="{9A6C7A37-754D-4981-8696-94D804380812}"/>
          </ac:cxnSpMkLst>
        </pc:cxnChg>
        <pc:cxnChg chg="add del">
          <ac:chgData name="Perez Diaz, Karen" userId="17027623-4de6-4c48-9453-394c2c5804f8" providerId="ADAL" clId="{A755515F-B52D-4BFA-B575-872A5E8C9A72}" dt="2021-01-28T21:46:18.588" v="10"/>
          <ac:cxnSpMkLst>
            <pc:docMk/>
            <pc:sldMk cId="3266835802" sldId="750"/>
            <ac:cxnSpMk id="124" creationId="{64D98605-D3D8-4C9B-A828-308E77E02EEE}"/>
          </ac:cxnSpMkLst>
        </pc:cxnChg>
        <pc:cxnChg chg="add del">
          <ac:chgData name="Perez Diaz, Karen" userId="17027623-4de6-4c48-9453-394c2c5804f8" providerId="ADAL" clId="{A755515F-B52D-4BFA-B575-872A5E8C9A72}" dt="2021-01-28T21:46:18.588" v="10"/>
          <ac:cxnSpMkLst>
            <pc:docMk/>
            <pc:sldMk cId="3266835802" sldId="750"/>
            <ac:cxnSpMk id="125" creationId="{4F86E99C-BA83-4B4C-B86C-16EDDD94D49F}"/>
          </ac:cxnSpMkLst>
        </pc:cxnChg>
        <pc:cxnChg chg="add del">
          <ac:chgData name="Perez Diaz, Karen" userId="17027623-4de6-4c48-9453-394c2c5804f8" providerId="ADAL" clId="{A755515F-B52D-4BFA-B575-872A5E8C9A72}" dt="2021-01-28T21:46:18.588" v="10"/>
          <ac:cxnSpMkLst>
            <pc:docMk/>
            <pc:sldMk cId="3266835802" sldId="750"/>
            <ac:cxnSpMk id="126" creationId="{056DCC31-7023-4E80-885B-F1D9D2F5E534}"/>
          </ac:cxnSpMkLst>
        </pc:cxnChg>
        <pc:cxnChg chg="add">
          <ac:chgData name="Perez Diaz, Karen" userId="17027623-4de6-4c48-9453-394c2c5804f8" providerId="ADAL" clId="{A755515F-B52D-4BFA-B575-872A5E8C9A72}" dt="2021-01-28T21:47:28.055" v="15"/>
          <ac:cxnSpMkLst>
            <pc:docMk/>
            <pc:sldMk cId="3266835802" sldId="750"/>
            <ac:cxnSpMk id="169" creationId="{D3E60914-0FB6-4866-97DB-D7A59F9C78EA}"/>
          </ac:cxnSpMkLst>
        </pc:cxnChg>
        <pc:cxnChg chg="del mod">
          <ac:chgData name="Perez Diaz, Karen" userId="17027623-4de6-4c48-9453-394c2c5804f8" providerId="ADAL" clId="{A755515F-B52D-4BFA-B575-872A5E8C9A72}" dt="2021-02-01T19:52:42.098" v="98" actId="478"/>
          <ac:cxnSpMkLst>
            <pc:docMk/>
            <pc:sldMk cId="3266835802" sldId="750"/>
            <ac:cxnSpMk id="170" creationId="{22C87227-5D49-40A2-A3BC-8592EC3CD579}"/>
          </ac:cxnSpMkLst>
        </pc:cxnChg>
        <pc:cxnChg chg="add">
          <ac:chgData name="Perez Diaz, Karen" userId="17027623-4de6-4c48-9453-394c2c5804f8" providerId="ADAL" clId="{A755515F-B52D-4BFA-B575-872A5E8C9A72}" dt="2021-01-28T21:47:28.055" v="15"/>
          <ac:cxnSpMkLst>
            <pc:docMk/>
            <pc:sldMk cId="3266835802" sldId="750"/>
            <ac:cxnSpMk id="171" creationId="{0A896B63-B170-438F-9096-502D60DAF630}"/>
          </ac:cxnSpMkLst>
        </pc:cxnChg>
        <pc:cxnChg chg="add">
          <ac:chgData name="Perez Diaz, Karen" userId="17027623-4de6-4c48-9453-394c2c5804f8" providerId="ADAL" clId="{A755515F-B52D-4BFA-B575-872A5E8C9A72}" dt="2021-01-28T22:16:06.981" v="33"/>
          <ac:cxnSpMkLst>
            <pc:docMk/>
            <pc:sldMk cId="3266835802" sldId="750"/>
            <ac:cxnSpMk id="221" creationId="{3097F805-177C-45C4-B7FE-D7C585050186}"/>
          </ac:cxnSpMkLst>
        </pc:cxnChg>
      </pc:sldChg>
      <pc:sldChg chg="addSp delSp modSp add">
        <pc:chgData name="Perez Diaz, Karen" userId="17027623-4de6-4c48-9453-394c2c5804f8" providerId="ADAL" clId="{A755515F-B52D-4BFA-B575-872A5E8C9A72}" dt="2021-02-01T20:17:52.296" v="237"/>
        <pc:sldMkLst>
          <pc:docMk/>
          <pc:sldMk cId="743756714" sldId="751"/>
        </pc:sldMkLst>
        <pc:spChg chg="del mod">
          <ac:chgData name="Perez Diaz, Karen" userId="17027623-4de6-4c48-9453-394c2c5804f8" providerId="ADAL" clId="{A755515F-B52D-4BFA-B575-872A5E8C9A72}" dt="2021-02-01T19:50:37.698" v="57"/>
          <ac:spMkLst>
            <pc:docMk/>
            <pc:sldMk cId="743756714" sldId="751"/>
            <ac:spMk id="17" creationId="{C1BA304E-4D00-4467-9A6C-60D0F96B1272}"/>
          </ac:spMkLst>
        </pc:spChg>
        <pc:spChg chg="del">
          <ac:chgData name="Perez Diaz, Karen" userId="17027623-4de6-4c48-9453-394c2c5804f8" providerId="ADAL" clId="{A755515F-B52D-4BFA-B575-872A5E8C9A72}" dt="2021-02-01T19:50:23.658" v="46" actId="478"/>
          <ac:spMkLst>
            <pc:docMk/>
            <pc:sldMk cId="743756714" sldId="751"/>
            <ac:spMk id="18" creationId="{1FD44B30-90FA-490E-A024-06171BB7986B}"/>
          </ac:spMkLst>
        </pc:spChg>
        <pc:spChg chg="del mod topLvl">
          <ac:chgData name="Perez Diaz, Karen" userId="17027623-4de6-4c48-9453-394c2c5804f8" providerId="ADAL" clId="{A755515F-B52D-4BFA-B575-872A5E8C9A72}" dt="2021-02-01T19:50:38.983" v="58" actId="478"/>
          <ac:spMkLst>
            <pc:docMk/>
            <pc:sldMk cId="743756714" sldId="751"/>
            <ac:spMk id="19" creationId="{2D133A89-F002-41DF-BE8A-052612A491AC}"/>
          </ac:spMkLst>
        </pc:spChg>
        <pc:spChg chg="del mod">
          <ac:chgData name="Perez Diaz, Karen" userId="17027623-4de6-4c48-9453-394c2c5804f8" providerId="ADAL" clId="{A755515F-B52D-4BFA-B575-872A5E8C9A72}" dt="2021-02-01T20:14:02.318" v="139" actId="478"/>
          <ac:spMkLst>
            <pc:docMk/>
            <pc:sldMk cId="743756714" sldId="751"/>
            <ac:spMk id="34" creationId="{382E8A01-BEF3-48DC-8ADF-624A68CB482B}"/>
          </ac:spMkLst>
        </pc:spChg>
        <pc:spChg chg="del topLvl">
          <ac:chgData name="Perez Diaz, Karen" userId="17027623-4de6-4c48-9453-394c2c5804f8" providerId="ADAL" clId="{A755515F-B52D-4BFA-B575-872A5E8C9A72}" dt="2021-02-01T19:50:42.270" v="59" actId="478"/>
          <ac:spMkLst>
            <pc:docMk/>
            <pc:sldMk cId="743756714" sldId="751"/>
            <ac:spMk id="35" creationId="{2ACAE726-6B31-4DBD-9287-68684D0D1267}"/>
          </ac:spMkLst>
        </pc:spChg>
        <pc:spChg chg="del">
          <ac:chgData name="Perez Diaz, Karen" userId="17027623-4de6-4c48-9453-394c2c5804f8" providerId="ADAL" clId="{A755515F-B52D-4BFA-B575-872A5E8C9A72}" dt="2021-02-01T19:44:10.759" v="40" actId="478"/>
          <ac:spMkLst>
            <pc:docMk/>
            <pc:sldMk cId="743756714" sldId="751"/>
            <ac:spMk id="83" creationId="{D5DDF7CE-397E-46B2-B66C-4EA06546A479}"/>
          </ac:spMkLst>
        </pc:spChg>
        <pc:spChg chg="del">
          <ac:chgData name="Perez Diaz, Karen" userId="17027623-4de6-4c48-9453-394c2c5804f8" providerId="ADAL" clId="{A755515F-B52D-4BFA-B575-872A5E8C9A72}" dt="2021-02-01T19:44:10.759" v="40" actId="478"/>
          <ac:spMkLst>
            <pc:docMk/>
            <pc:sldMk cId="743756714" sldId="751"/>
            <ac:spMk id="84" creationId="{F9FC18E3-4FC7-4F15-9A05-D568A39645CA}"/>
          </ac:spMkLst>
        </pc:spChg>
        <pc:spChg chg="del">
          <ac:chgData name="Perez Diaz, Karen" userId="17027623-4de6-4c48-9453-394c2c5804f8" providerId="ADAL" clId="{A755515F-B52D-4BFA-B575-872A5E8C9A72}" dt="2021-02-01T19:44:10.759" v="40" actId="478"/>
          <ac:spMkLst>
            <pc:docMk/>
            <pc:sldMk cId="743756714" sldId="751"/>
            <ac:spMk id="85" creationId="{0ED3C1F7-D5E5-4BCA-AF01-DAE5DF068C84}"/>
          </ac:spMkLst>
        </pc:spChg>
        <pc:spChg chg="del">
          <ac:chgData name="Perez Diaz, Karen" userId="17027623-4de6-4c48-9453-394c2c5804f8" providerId="ADAL" clId="{A755515F-B52D-4BFA-B575-872A5E8C9A72}" dt="2021-02-01T19:44:10.759" v="40" actId="478"/>
          <ac:spMkLst>
            <pc:docMk/>
            <pc:sldMk cId="743756714" sldId="751"/>
            <ac:spMk id="86" creationId="{3C48546E-0764-4FC6-9E2A-20B6C6BA914A}"/>
          </ac:spMkLst>
        </pc:spChg>
        <pc:spChg chg="add del mod">
          <ac:chgData name="Perez Diaz, Karen" userId="17027623-4de6-4c48-9453-394c2c5804f8" providerId="ADAL" clId="{A755515F-B52D-4BFA-B575-872A5E8C9A72}" dt="2021-02-01T20:13:26.745" v="99" actId="478"/>
          <ac:spMkLst>
            <pc:docMk/>
            <pc:sldMk cId="743756714" sldId="751"/>
            <ac:spMk id="89" creationId="{54ABB9EE-3753-455E-87F5-4036FD13C94F}"/>
          </ac:spMkLst>
        </pc:spChg>
        <pc:spChg chg="add mod">
          <ac:chgData name="Perez Diaz, Karen" userId="17027623-4de6-4c48-9453-394c2c5804f8" providerId="ADAL" clId="{A755515F-B52D-4BFA-B575-872A5E8C9A72}" dt="2021-02-01T20:15:54.621" v="180" actId="1035"/>
          <ac:spMkLst>
            <pc:docMk/>
            <pc:sldMk cId="743756714" sldId="751"/>
            <ac:spMk id="92" creationId="{3AFBF715-C602-4E29-AD37-28FEA2115C06}"/>
          </ac:spMkLst>
        </pc:spChg>
        <pc:spChg chg="add mod">
          <ac:chgData name="Perez Diaz, Karen" userId="17027623-4de6-4c48-9453-394c2c5804f8" providerId="ADAL" clId="{A755515F-B52D-4BFA-B575-872A5E8C9A72}" dt="2021-02-01T20:16:28.525" v="192" actId="14100"/>
          <ac:spMkLst>
            <pc:docMk/>
            <pc:sldMk cId="743756714" sldId="751"/>
            <ac:spMk id="95" creationId="{5D905AEA-C1D3-4B7D-8E5B-8FB0E3E3F549}"/>
          </ac:spMkLst>
        </pc:spChg>
        <pc:spChg chg="add">
          <ac:chgData name="Perez Diaz, Karen" userId="17027623-4de6-4c48-9453-394c2c5804f8" providerId="ADAL" clId="{A755515F-B52D-4BFA-B575-872A5E8C9A72}" dt="2021-02-01T20:17:52.296" v="237"/>
          <ac:spMkLst>
            <pc:docMk/>
            <pc:sldMk cId="743756714" sldId="751"/>
            <ac:spMk id="97" creationId="{38641BEB-FDA6-4610-9692-CC7128FF110B}"/>
          </ac:spMkLst>
        </pc:spChg>
        <pc:spChg chg="del">
          <ac:chgData name="Perez Diaz, Karen" userId="17027623-4de6-4c48-9453-394c2c5804f8" providerId="ADAL" clId="{A755515F-B52D-4BFA-B575-872A5E8C9A72}" dt="2021-02-01T20:17:51.747" v="236" actId="478"/>
          <ac:spMkLst>
            <pc:docMk/>
            <pc:sldMk cId="743756714" sldId="751"/>
            <ac:spMk id="175" creationId="{3859F0A8-9599-4070-90DE-20D3E04792D8}"/>
          </ac:spMkLst>
        </pc:spChg>
        <pc:spChg chg="mod">
          <ac:chgData name="Perez Diaz, Karen" userId="17027623-4de6-4c48-9453-394c2c5804f8" providerId="ADAL" clId="{A755515F-B52D-4BFA-B575-872A5E8C9A72}" dt="2021-02-01T19:50:18.616" v="45" actId="14100"/>
          <ac:spMkLst>
            <pc:docMk/>
            <pc:sldMk cId="743756714" sldId="751"/>
            <ac:spMk id="202" creationId="{B5CA336B-A1BF-4871-8150-E9B291B6724C}"/>
          </ac:spMkLst>
        </pc:spChg>
        <pc:grpChg chg="del mod">
          <ac:chgData name="Perez Diaz, Karen" userId="17027623-4de6-4c48-9453-394c2c5804f8" providerId="ADAL" clId="{A755515F-B52D-4BFA-B575-872A5E8C9A72}" dt="2021-02-01T19:50:37.698" v="57"/>
          <ac:grpSpMkLst>
            <pc:docMk/>
            <pc:sldMk cId="743756714" sldId="751"/>
            <ac:grpSpMk id="23" creationId="{4AC32419-BA63-4713-9301-A226CFD32889}"/>
          </ac:grpSpMkLst>
        </pc:grpChg>
        <pc:grpChg chg="del">
          <ac:chgData name="Perez Diaz, Karen" userId="17027623-4de6-4c48-9453-394c2c5804f8" providerId="ADAL" clId="{A755515F-B52D-4BFA-B575-872A5E8C9A72}" dt="2021-02-01T19:50:23.658" v="46" actId="478"/>
          <ac:grpSpMkLst>
            <pc:docMk/>
            <pc:sldMk cId="743756714" sldId="751"/>
            <ac:grpSpMk id="24" creationId="{23994B4D-AEEA-4C88-8DDA-6E7C6CD827FD}"/>
          </ac:grpSpMkLst>
        </pc:grpChg>
        <pc:grpChg chg="del mod">
          <ac:chgData name="Perez Diaz, Karen" userId="17027623-4de6-4c48-9453-394c2c5804f8" providerId="ADAL" clId="{A755515F-B52D-4BFA-B575-872A5E8C9A72}" dt="2021-02-01T19:50:38.983" v="58" actId="478"/>
          <ac:grpSpMkLst>
            <pc:docMk/>
            <pc:sldMk cId="743756714" sldId="751"/>
            <ac:grpSpMk id="26" creationId="{899AB3C6-D04B-467B-80AD-71290C5FD607}"/>
          </ac:grpSpMkLst>
        </pc:grpChg>
        <pc:cxnChg chg="del mod">
          <ac:chgData name="Perez Diaz, Karen" userId="17027623-4de6-4c48-9453-394c2c5804f8" providerId="ADAL" clId="{A755515F-B52D-4BFA-B575-872A5E8C9A72}" dt="2021-02-01T20:13:44.620" v="111" actId="478"/>
          <ac:cxnSpMkLst>
            <pc:docMk/>
            <pc:sldMk cId="743756714" sldId="751"/>
            <ac:cxnSpMk id="52" creationId="{9A801628-898B-4840-8337-E3F4FCEE2F10}"/>
          </ac:cxnSpMkLst>
        </pc:cxnChg>
        <pc:cxnChg chg="add mod">
          <ac:chgData name="Perez Diaz, Karen" userId="17027623-4de6-4c48-9453-394c2c5804f8" providerId="ADAL" clId="{A755515F-B52D-4BFA-B575-872A5E8C9A72}" dt="2021-02-01T20:16:09.870" v="183" actId="14100"/>
          <ac:cxnSpMkLst>
            <pc:docMk/>
            <pc:sldMk cId="743756714" sldId="751"/>
            <ac:cxnSpMk id="91" creationId="{30437041-CAF2-440F-99E0-DC47ABAA9F22}"/>
          </ac:cxnSpMkLst>
        </pc:cxnChg>
        <pc:cxnChg chg="add mod">
          <ac:chgData name="Perez Diaz, Karen" userId="17027623-4de6-4c48-9453-394c2c5804f8" providerId="ADAL" clId="{A755515F-B52D-4BFA-B575-872A5E8C9A72}" dt="2021-02-01T20:16:28.525" v="192" actId="14100"/>
          <ac:cxnSpMkLst>
            <pc:docMk/>
            <pc:sldMk cId="743756714" sldId="751"/>
            <ac:cxnSpMk id="93" creationId="{E23C542C-A4CE-4942-95F8-AAB87EEAE5AA}"/>
          </ac:cxnSpMkLst>
        </pc:cxnChg>
        <pc:cxnChg chg="add">
          <ac:chgData name="Perez Diaz, Karen" userId="17027623-4de6-4c48-9453-394c2c5804f8" providerId="ADAL" clId="{A755515F-B52D-4BFA-B575-872A5E8C9A72}" dt="2021-01-29T15:37:51.018" v="34"/>
          <ac:cxnSpMkLst>
            <pc:docMk/>
            <pc:sldMk cId="743756714" sldId="751"/>
            <ac:cxnSpMk id="94" creationId="{02BE0E97-73FA-4A31-9000-5AC3BD2B92F3}"/>
          </ac:cxnSpMkLst>
        </pc:cxnChg>
        <pc:cxnChg chg="add">
          <ac:chgData name="Perez Diaz, Karen" userId="17027623-4de6-4c48-9453-394c2c5804f8" providerId="ADAL" clId="{A755515F-B52D-4BFA-B575-872A5E8C9A72}" dt="2021-01-29T15:39:10.569" v="35"/>
          <ac:cxnSpMkLst>
            <pc:docMk/>
            <pc:sldMk cId="743756714" sldId="751"/>
            <ac:cxnSpMk id="101" creationId="{D33917D8-6BE5-48BB-90EF-6A05A36AF7EA}"/>
          </ac:cxnSpMkLst>
        </pc:cxnChg>
        <pc:cxnChg chg="add del">
          <ac:chgData name="Perez Diaz, Karen" userId="17027623-4de6-4c48-9453-394c2c5804f8" providerId="ADAL" clId="{A755515F-B52D-4BFA-B575-872A5E8C9A72}" dt="2021-02-01T19:44:12.552" v="41" actId="478"/>
          <ac:cxnSpMkLst>
            <pc:docMk/>
            <pc:sldMk cId="743756714" sldId="751"/>
            <ac:cxnSpMk id="102" creationId="{E5C80857-F69C-43DF-AA57-54A66C888234}"/>
          </ac:cxnSpMkLst>
        </pc:cxnChg>
        <pc:cxnChg chg="del mod">
          <ac:chgData name="Perez Diaz, Karen" userId="17027623-4de6-4c48-9453-394c2c5804f8" providerId="ADAL" clId="{A755515F-B52D-4BFA-B575-872A5E8C9A72}" dt="2021-02-01T19:50:26.112" v="47" actId="478"/>
          <ac:cxnSpMkLst>
            <pc:docMk/>
            <pc:sldMk cId="743756714" sldId="751"/>
            <ac:cxnSpMk id="170" creationId="{22C87227-5D49-40A2-A3BC-8592EC3CD579}"/>
          </ac:cxnSpMkLst>
        </pc:cxnChg>
      </pc:sldChg>
      <pc:sldChg chg="add del">
        <pc:chgData name="Perez Diaz, Karen" userId="17027623-4de6-4c48-9453-394c2c5804f8" providerId="ADAL" clId="{A755515F-B52D-4BFA-B575-872A5E8C9A72}" dt="2021-01-28T22:14:04.415" v="31"/>
        <pc:sldMkLst>
          <pc:docMk/>
          <pc:sldMk cId="2717956519" sldId="751"/>
        </pc:sldMkLst>
      </pc:sldChg>
      <pc:sldChg chg="add del">
        <pc:chgData name="Perez Diaz, Karen" userId="17027623-4de6-4c48-9453-394c2c5804f8" providerId="ADAL" clId="{A755515F-B52D-4BFA-B575-872A5E8C9A72}" dt="2021-02-01T20:17:56.344" v="238" actId="2696"/>
        <pc:sldMkLst>
          <pc:docMk/>
          <pc:sldMk cId="3968424769" sldId="752"/>
        </pc:sldMkLst>
      </pc:sldChg>
    </pc:docChg>
  </pc:docChgLst>
  <pc:docChgLst>
    <pc:chgData name="Perez Diaz, Karen" userId="17027623-4de6-4c48-9453-394c2c5804f8" providerId="ADAL" clId="{4BCA2088-F059-4927-B735-09D7E4190762}"/>
    <pc:docChg chg="modSld">
      <pc:chgData name="Perez Diaz, Karen" userId="17027623-4de6-4c48-9453-394c2c5804f8" providerId="ADAL" clId="{4BCA2088-F059-4927-B735-09D7E4190762}" dt="2020-12-22T19:43:25.707" v="19" actId="14100"/>
      <pc:docMkLst>
        <pc:docMk/>
      </pc:docMkLst>
      <pc:sldChg chg="modSp">
        <pc:chgData name="Perez Diaz, Karen" userId="17027623-4de6-4c48-9453-394c2c5804f8" providerId="ADAL" clId="{4BCA2088-F059-4927-B735-09D7E4190762}" dt="2020-12-22T19:43:25.707" v="19" actId="14100"/>
        <pc:sldMkLst>
          <pc:docMk/>
          <pc:sldMk cId="753726229" sldId="379"/>
        </pc:sldMkLst>
        <pc:spChg chg="mod">
          <ac:chgData name="Perez Diaz, Karen" userId="17027623-4de6-4c48-9453-394c2c5804f8" providerId="ADAL" clId="{4BCA2088-F059-4927-B735-09D7E4190762}" dt="2020-12-22T19:43:25.707" v="19" actId="14100"/>
          <ac:spMkLst>
            <pc:docMk/>
            <pc:sldMk cId="753726229" sldId="379"/>
            <ac:spMk id="38" creationId="{1A443F8F-8D68-42AA-BAEE-15BC368AA565}"/>
          </ac:spMkLst>
        </pc:spChg>
      </pc:sldChg>
    </pc:docChg>
  </pc:docChgLst>
  <pc:docChgLst>
    <pc:chgData name="Perez Diaz, Karen" userId="S::perezdiazk@aetna.com::17027623-4de6-4c48-9453-394c2c5804f8" providerId="AD" clId="Web-{F49A14D3-6E21-C9AA-1FE3-FCFD43C48BD5}"/>
    <pc:docChg chg="modSld">
      <pc:chgData name="Perez Diaz, Karen" userId="S::perezdiazk@aetna.com::17027623-4de6-4c48-9453-394c2c5804f8" providerId="AD" clId="Web-{F49A14D3-6E21-C9AA-1FE3-FCFD43C48BD5}" dt="2021-01-13T16:59:33.428" v="2" actId="20577"/>
      <pc:docMkLst>
        <pc:docMk/>
      </pc:docMkLst>
      <pc:sldChg chg="modSp">
        <pc:chgData name="Perez Diaz, Karen" userId="S::perezdiazk@aetna.com::17027623-4de6-4c48-9453-394c2c5804f8" providerId="AD" clId="Web-{F49A14D3-6E21-C9AA-1FE3-FCFD43C48BD5}" dt="2021-01-13T16:59:33.428" v="2" actId="20577"/>
        <pc:sldMkLst>
          <pc:docMk/>
          <pc:sldMk cId="3197154609" sldId="736"/>
        </pc:sldMkLst>
        <pc:spChg chg="mod">
          <ac:chgData name="Perez Diaz, Karen" userId="S::perezdiazk@aetna.com::17027623-4de6-4c48-9453-394c2c5804f8" providerId="AD" clId="Web-{F49A14D3-6E21-C9AA-1FE3-FCFD43C48BD5}" dt="2021-01-13T16:59:33.428" v="2" actId="20577"/>
          <ac:spMkLst>
            <pc:docMk/>
            <pc:sldMk cId="3197154609" sldId="736"/>
            <ac:spMk id="3" creationId="{AF0DA26D-3B67-40C8-9676-A9B16F9FFEA9}"/>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1-15T14:42:16.892" idx="1">
    <p:pos x="7544" y="1653"/>
    <p:text>Reword Overview/Engagement</p:text>
    <p:extLst>
      <p:ext uri="{C676402C-5697-4E1C-873F-D02D1690AC5C}">
        <p15:threadingInfo xmlns:p15="http://schemas.microsoft.com/office/powerpoint/2012/main" timeZoneBias="300"/>
      </p:ext>
    </p:extLst>
  </p:cm>
  <p:cm authorId="1" dt="2021-01-15T14:42:41.445" idx="2">
    <p:pos x="10" y="10"/>
    <p:text>Add a Glossary to define External data</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4/15/2021</a:t>
            </a:fld>
            <a:endParaRPr lang="en-US" sz="100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4/15/2021</a:t>
            </a:fld>
            <a:endParaRPr lang="en-US"/>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2933113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Open Sans Light"/>
                <a:ea typeface="+mn-ea"/>
                <a:cs typeface="Open Sans Light"/>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black"/>
              </a:solidFill>
              <a:effectLst/>
              <a:uLnTx/>
              <a:uFillTx/>
              <a:latin typeface="Open Sans Light"/>
              <a:ea typeface="+mn-ea"/>
              <a:cs typeface="Open Sans Light"/>
            </a:endParaRPr>
          </a:p>
        </p:txBody>
      </p:sp>
    </p:spTree>
    <p:extLst>
      <p:ext uri="{BB962C8B-B14F-4D97-AF65-F5344CB8AC3E}">
        <p14:creationId xmlns:p14="http://schemas.microsoft.com/office/powerpoint/2010/main" val="2497544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4</a:t>
            </a:fld>
            <a:endParaRPr lang="en-US"/>
          </a:p>
        </p:txBody>
      </p:sp>
    </p:spTree>
    <p:extLst>
      <p:ext uri="{BB962C8B-B14F-4D97-AF65-F5344CB8AC3E}">
        <p14:creationId xmlns:p14="http://schemas.microsoft.com/office/powerpoint/2010/main" val="555682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5</a:t>
            </a:fld>
            <a:endParaRPr lang="en-US"/>
          </a:p>
        </p:txBody>
      </p:sp>
    </p:spTree>
    <p:extLst>
      <p:ext uri="{BB962C8B-B14F-4D97-AF65-F5344CB8AC3E}">
        <p14:creationId xmlns:p14="http://schemas.microsoft.com/office/powerpoint/2010/main" val="1373020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7</a:t>
            </a:fld>
            <a:endParaRPr lang="en-US"/>
          </a:p>
        </p:txBody>
      </p:sp>
    </p:spTree>
    <p:extLst>
      <p:ext uri="{BB962C8B-B14F-4D97-AF65-F5344CB8AC3E}">
        <p14:creationId xmlns:p14="http://schemas.microsoft.com/office/powerpoint/2010/main" val="1376553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8</a:t>
            </a:fld>
            <a:endParaRPr lang="en-US"/>
          </a:p>
        </p:txBody>
      </p:sp>
    </p:spTree>
    <p:extLst>
      <p:ext uri="{BB962C8B-B14F-4D97-AF65-F5344CB8AC3E}">
        <p14:creationId xmlns:p14="http://schemas.microsoft.com/office/powerpoint/2010/main" val="1996859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1</a:t>
            </a:fld>
            <a:endParaRPr lang="en-US"/>
          </a:p>
        </p:txBody>
      </p:sp>
    </p:spTree>
    <p:extLst>
      <p:ext uri="{BB962C8B-B14F-4D97-AF65-F5344CB8AC3E}">
        <p14:creationId xmlns:p14="http://schemas.microsoft.com/office/powerpoint/2010/main" val="5121467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1</a:t>
            </a:fld>
            <a:endParaRPr lang="en-US"/>
          </a:p>
        </p:txBody>
      </p:sp>
    </p:spTree>
    <p:extLst>
      <p:ext uri="{BB962C8B-B14F-4D97-AF65-F5344CB8AC3E}">
        <p14:creationId xmlns:p14="http://schemas.microsoft.com/office/powerpoint/2010/main" val="40784004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p:nvGrpSpPr>
        <p:grpSpPr>
          <a:xfrm>
            <a:off x="557929" y="429542"/>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
        <p:nvSpPr>
          <p:cNvPr id="22"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3799581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365425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2549650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78563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4452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227855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825303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534836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4192298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86520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87360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0839146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3979142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p:nvSpPr>
        <p:spPr>
          <a:xfrm>
            <a:off x="218718"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p:nvSpPr>
        <p:spPr>
          <a:xfrm>
            <a:off x="8121046"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991"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7514"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72065" y="3148862"/>
            <a:ext cx="2368913"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3182429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1269987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22507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36236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929" y="1764792"/>
            <a:ext cx="4435995"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001708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2772026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2512868" y="2180108"/>
            <a:ext cx="7170763"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703521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3034"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999137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4939"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435312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p:nvSpPr>
        <p:spPr>
          <a:xfrm>
            <a:off x="557929" y="6427484"/>
            <a:ext cx="6859786"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p:nvGrpSpPr>
        <p:grpSpPr>
          <a:xfrm>
            <a:off x="557929" y="429542"/>
            <a:ext cx="2872536"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672893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873434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5766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sp>
        <p:nvSpPr>
          <p:cNvPr id="8" name="Title 1">
            <a:extLst>
              <a:ext uri="{FF2B5EF4-FFF2-40B4-BE49-F238E27FC236}">
                <a16:creationId xmlns:a16="http://schemas.microsoft.com/office/drawing/2014/main" id="{64081097-5A32-492D-A4B4-0E77BD503364}"/>
              </a:ext>
            </a:extLst>
          </p:cNvPr>
          <p:cNvSpPr txBox="1">
            <a:spLocks/>
          </p:cNvSpPr>
          <p:nvPr userDrawn="1"/>
        </p:nvSpPr>
        <p:spPr>
          <a:xfrm>
            <a:off x="575681"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a:solidFill>
                  <a:schemeClr val="bg1"/>
                </a:solidFill>
              </a:rPr>
              <a:t>Turning Vision…</a:t>
            </a:r>
          </a:p>
        </p:txBody>
      </p:sp>
      <p:sp>
        <p:nvSpPr>
          <p:cNvPr id="9" name="Title 1">
            <a:extLst>
              <a:ext uri="{FF2B5EF4-FFF2-40B4-BE49-F238E27FC236}">
                <a16:creationId xmlns:a16="http://schemas.microsoft.com/office/drawing/2014/main" id="{68E82583-215F-49B9-8CD3-A028423EE570}"/>
              </a:ext>
            </a:extLst>
          </p:cNvPr>
          <p:cNvSpPr>
            <a:spLocks noGrp="1"/>
          </p:cNvSpPr>
          <p:nvPr>
            <p:ph type="title" idx="4294967295"/>
          </p:nvPr>
        </p:nvSpPr>
        <p:spPr>
          <a:xfrm>
            <a:off x="6733424" y="2875986"/>
            <a:ext cx="4882896" cy="713232"/>
          </a:xfrm>
        </p:spPr>
        <p:txBody>
          <a:bodyPr/>
          <a:lstStyle/>
          <a:p>
            <a:r>
              <a:rPr lang="en-US" sz="4000"/>
              <a:t>Click to edit Master title style</a:t>
            </a:r>
          </a:p>
        </p:txBody>
      </p:sp>
    </p:spTree>
    <p:extLst>
      <p:ext uri="{BB962C8B-B14F-4D97-AF65-F5344CB8AC3E}">
        <p14:creationId xmlns:p14="http://schemas.microsoft.com/office/powerpoint/2010/main" val="30660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309210"/>
            <a:ext cx="9667726"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929" y="679475"/>
            <a:ext cx="9687861"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Click to edit Master text styles</a:t>
            </a:r>
          </a:p>
        </p:txBody>
      </p:sp>
    </p:spTree>
    <p:extLst>
      <p:ext uri="{BB962C8B-B14F-4D97-AF65-F5344CB8AC3E}">
        <p14:creationId xmlns:p14="http://schemas.microsoft.com/office/powerpoint/2010/main" val="1881474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64514" name="Rectangle 2"/>
          <p:cNvSpPr>
            <a:spLocks noGrp="1" noChangeArrowheads="1"/>
          </p:cNvSpPr>
          <p:nvPr>
            <p:ph type="ctrTitle"/>
          </p:nvPr>
        </p:nvSpPr>
        <p:spPr>
          <a:xfrm>
            <a:off x="304800" y="1698626"/>
            <a:ext cx="11277600" cy="1958975"/>
          </a:xfrm>
        </p:spPr>
        <p:txBody>
          <a:bodyPr/>
          <a:lstStyle>
            <a:lvl1pPr>
              <a:lnSpc>
                <a:spcPct val="80000"/>
              </a:lnSpc>
              <a:defRPr sz="7000" b="0">
                <a:solidFill>
                  <a:schemeClr val="accent1"/>
                </a:solidFill>
              </a:defRPr>
            </a:lvl1pPr>
          </a:lstStyle>
          <a:p>
            <a:pPr lvl="0"/>
            <a:r>
              <a:rPr lang="en-US" noProof="0"/>
              <a:t>Click to edit Master title style</a:t>
            </a:r>
          </a:p>
        </p:txBody>
      </p:sp>
      <p:sp>
        <p:nvSpPr>
          <p:cNvPr id="64515" name="Rectangle 3"/>
          <p:cNvSpPr>
            <a:spLocks noGrp="1" noChangeArrowheads="1"/>
          </p:cNvSpPr>
          <p:nvPr>
            <p:ph type="subTitle" idx="1"/>
          </p:nvPr>
        </p:nvSpPr>
        <p:spPr>
          <a:xfrm>
            <a:off x="304800" y="3713164"/>
            <a:ext cx="11226800" cy="555625"/>
          </a:xfrm>
        </p:spPr>
        <p:txBody>
          <a:bodyPr/>
          <a:lstStyle>
            <a:lvl1pPr>
              <a:defRPr sz="2300">
                <a:solidFill>
                  <a:schemeClr val="bg1"/>
                </a:solidFill>
              </a:defRPr>
            </a:lvl1pPr>
          </a:lstStyle>
          <a:p>
            <a:pPr lvl="0"/>
            <a:r>
              <a:rPr lang="en-US" noProof="0"/>
              <a:t>Click to edit Master subtitle style</a:t>
            </a:r>
          </a:p>
        </p:txBody>
      </p:sp>
      <p:sp>
        <p:nvSpPr>
          <p:cNvPr id="3" name="Text Placeholder 2"/>
          <p:cNvSpPr>
            <a:spLocks noGrp="1"/>
          </p:cNvSpPr>
          <p:nvPr>
            <p:ph type="body" sz="quarter" idx="10" hasCustomPrompt="1"/>
          </p:nvPr>
        </p:nvSpPr>
        <p:spPr>
          <a:xfrm>
            <a:off x="304801" y="4324350"/>
            <a:ext cx="3441700" cy="514350"/>
          </a:xfrm>
        </p:spPr>
        <p:txBody>
          <a:bodyPr/>
          <a:lstStyle>
            <a:lvl1pPr>
              <a:defRPr sz="2000" b="0" i="0" baseline="0">
                <a:solidFill>
                  <a:schemeClr val="bg1"/>
                </a:solidFill>
                <a:latin typeface="Calibri" pitchFamily="34" charset="0"/>
              </a:defRPr>
            </a:lvl1pPr>
          </a:lstStyle>
          <a:p>
            <a:pPr lvl="0"/>
            <a:r>
              <a:rPr lang="en-US"/>
              <a:t>Month Day, Year</a:t>
            </a:r>
          </a:p>
        </p:txBody>
      </p:sp>
      <p:sp>
        <p:nvSpPr>
          <p:cNvPr id="8" name="Text Box 6"/>
          <p:cNvSpPr txBox="1">
            <a:spLocks noChangeArrowheads="1"/>
          </p:cNvSpPr>
          <p:nvPr userDrawn="1"/>
        </p:nvSpPr>
        <p:spPr bwMode="black">
          <a:xfrm>
            <a:off x="2080809" y="333376"/>
            <a:ext cx="3657600"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1300" b="1">
                <a:solidFill>
                  <a:schemeClr val="accent1"/>
                </a:solidFill>
                <a:latin typeface="Calibri" pitchFamily="34" charset="0"/>
              </a:rPr>
              <a:t>Quality health plans &amp; benefits</a:t>
            </a:r>
          </a:p>
          <a:p>
            <a:r>
              <a:rPr lang="en-US" sz="1300" b="1">
                <a:solidFill>
                  <a:schemeClr val="accent1"/>
                </a:solidFill>
                <a:latin typeface="Calibri" pitchFamily="34" charset="0"/>
              </a:rPr>
              <a:t>Healthier living</a:t>
            </a:r>
          </a:p>
          <a:p>
            <a:r>
              <a:rPr lang="en-US" sz="1300" b="1">
                <a:solidFill>
                  <a:schemeClr val="accent1"/>
                </a:solidFill>
                <a:latin typeface="Calibri" pitchFamily="34" charset="0"/>
              </a:rPr>
              <a:t>Financial well-being</a:t>
            </a:r>
          </a:p>
          <a:p>
            <a:r>
              <a:rPr lang="en-US" sz="1300" b="1">
                <a:solidFill>
                  <a:schemeClr val="accent1"/>
                </a:solidFill>
                <a:latin typeface="Calibri" pitchFamily="34" charset="0"/>
              </a:rPr>
              <a:t>Intelligent solutions</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24801" y="393700"/>
            <a:ext cx="3918673" cy="749746"/>
          </a:xfrm>
          <a:prstGeom prst="rect">
            <a:avLst/>
          </a:prstGeom>
        </p:spPr>
      </p:pic>
      <p:grpSp>
        <p:nvGrpSpPr>
          <p:cNvPr id="10" name="Group 129"/>
          <p:cNvGrpSpPr>
            <a:grpSpLocks/>
          </p:cNvGrpSpPr>
          <p:nvPr userDrawn="1"/>
        </p:nvGrpSpPr>
        <p:grpSpPr bwMode="auto">
          <a:xfrm>
            <a:off x="272973" y="131762"/>
            <a:ext cx="1722967" cy="1289050"/>
            <a:chOff x="577" y="2403"/>
            <a:chExt cx="814" cy="812"/>
          </a:xfrm>
        </p:grpSpPr>
        <p:pic>
          <p:nvPicPr>
            <p:cNvPr id="11" name="Picture 1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7" y="2403"/>
              <a:ext cx="814" cy="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WordArt 119"/>
            <p:cNvSpPr>
              <a:spLocks noChangeArrowheads="1" noChangeShapeType="1" noTextEdit="1"/>
            </p:cNvSpPr>
            <p:nvPr/>
          </p:nvSpPr>
          <p:spPr bwMode="auto">
            <a:xfrm>
              <a:off x="649" y="2476"/>
              <a:ext cx="670" cy="666"/>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6956257"/>
                </a:avLst>
              </a:prstTxWarp>
            </a:bodyPr>
            <a:lstStyle/>
            <a:p>
              <a:pPr algn="ctr" eaLnBrk="0" hangingPunct="0"/>
              <a:r>
                <a:rPr lang="pt-BR" sz="2000" kern="10">
                  <a:solidFill>
                    <a:srgbClr val="000080"/>
                  </a:solidFill>
                  <a:latin typeface="Times New Roman"/>
                  <a:cs typeface="Times New Roman"/>
                </a:rPr>
                <a:t>C r e a t i n g   V a l u e   f o r   A e t n a ' s   B u s i n e s s e s</a:t>
              </a:r>
              <a:endParaRPr lang="en-US" sz="2000" kern="10">
                <a:solidFill>
                  <a:srgbClr val="000080"/>
                </a:solidFill>
                <a:latin typeface="Times New Roman"/>
                <a:cs typeface="Times New Roman"/>
              </a:endParaRPr>
            </a:p>
          </p:txBody>
        </p:sp>
        <p:sp>
          <p:nvSpPr>
            <p:cNvPr id="13" name="WordArt 120"/>
            <p:cNvSpPr>
              <a:spLocks noChangeArrowheads="1" noChangeShapeType="1" noTextEdit="1"/>
            </p:cNvSpPr>
            <p:nvPr/>
          </p:nvSpPr>
          <p:spPr bwMode="auto">
            <a:xfrm>
              <a:off x="910" y="2570"/>
              <a:ext cx="145"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Business</a:t>
              </a:r>
            </a:p>
          </p:txBody>
        </p:sp>
        <p:sp>
          <p:nvSpPr>
            <p:cNvPr id="14" name="WordArt 121"/>
            <p:cNvSpPr>
              <a:spLocks noChangeArrowheads="1" noChangeShapeType="1" noTextEdit="1"/>
            </p:cNvSpPr>
            <p:nvPr/>
          </p:nvSpPr>
          <p:spPr bwMode="auto">
            <a:xfrm rot="3697245">
              <a:off x="1102" y="2688"/>
              <a:ext cx="139"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Systems</a:t>
              </a:r>
            </a:p>
          </p:txBody>
        </p:sp>
        <p:sp>
          <p:nvSpPr>
            <p:cNvPr id="15" name="WordArt 122"/>
            <p:cNvSpPr>
              <a:spLocks noChangeArrowheads="1" noChangeShapeType="1" noTextEdit="1"/>
            </p:cNvSpPr>
            <p:nvPr/>
          </p:nvSpPr>
          <p:spPr bwMode="auto">
            <a:xfrm rot="17882459">
              <a:off x="1080" y="2887"/>
              <a:ext cx="181" cy="3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Application</a:t>
              </a:r>
            </a:p>
          </p:txBody>
        </p:sp>
        <p:sp>
          <p:nvSpPr>
            <p:cNvPr id="16" name="WordArt 123"/>
            <p:cNvSpPr>
              <a:spLocks noChangeArrowheads="1" noChangeShapeType="1" noTextEdit="1"/>
            </p:cNvSpPr>
            <p:nvPr/>
          </p:nvSpPr>
          <p:spPr bwMode="auto">
            <a:xfrm>
              <a:off x="887" y="2995"/>
              <a:ext cx="194"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Technology</a:t>
              </a:r>
            </a:p>
          </p:txBody>
        </p:sp>
        <p:sp>
          <p:nvSpPr>
            <p:cNvPr id="17" name="WordArt 124"/>
            <p:cNvSpPr>
              <a:spLocks noChangeArrowheads="1" noChangeShapeType="1" noTextEdit="1"/>
            </p:cNvSpPr>
            <p:nvPr/>
          </p:nvSpPr>
          <p:spPr bwMode="auto">
            <a:xfrm rot="3720275">
              <a:off x="709" y="2883"/>
              <a:ext cx="172"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Integration</a:t>
              </a:r>
            </a:p>
          </p:txBody>
        </p:sp>
        <p:sp>
          <p:nvSpPr>
            <p:cNvPr id="18" name="WordArt 125"/>
            <p:cNvSpPr>
              <a:spLocks noChangeArrowheads="1" noChangeShapeType="1" noTextEdit="1"/>
            </p:cNvSpPr>
            <p:nvPr/>
          </p:nvSpPr>
          <p:spPr bwMode="auto">
            <a:xfrm rot="-3790681">
              <a:off x="726" y="2684"/>
              <a:ext cx="133"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Security</a:t>
              </a:r>
            </a:p>
          </p:txBody>
        </p:sp>
        <p:sp>
          <p:nvSpPr>
            <p:cNvPr id="19" name="WordArt 126"/>
            <p:cNvSpPr>
              <a:spLocks noChangeArrowheads="1" noChangeShapeType="1" noTextEdit="1"/>
            </p:cNvSpPr>
            <p:nvPr/>
          </p:nvSpPr>
          <p:spPr bwMode="auto">
            <a:xfrm>
              <a:off x="894" y="2729"/>
              <a:ext cx="187" cy="1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3600" i="1" kern="10">
                  <a:solidFill>
                    <a:srgbClr val="FFFFFF"/>
                  </a:solidFill>
                  <a:effectLst>
                    <a:outerShdw dist="17961" dir="2700000" algn="ctr" rotWithShape="0">
                      <a:srgbClr val="5F5F5F">
                        <a:alpha val="80000"/>
                      </a:srgbClr>
                    </a:outerShdw>
                  </a:effectLst>
                  <a:latin typeface="Times New Roman"/>
                  <a:cs typeface="Times New Roman"/>
                </a:rPr>
                <a:t>EA</a:t>
              </a:r>
            </a:p>
          </p:txBody>
        </p:sp>
      </p:grpSp>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b="-241"/>
          <a:stretch/>
        </p:blipFill>
        <p:spPr>
          <a:xfrm>
            <a:off x="0" y="4888524"/>
            <a:ext cx="12192000" cy="1978269"/>
          </a:xfrm>
          <a:prstGeom prst="rect">
            <a:avLst/>
          </a:prstGeom>
        </p:spPr>
      </p:pic>
    </p:spTree>
    <p:extLst>
      <p:ext uri="{BB962C8B-B14F-4D97-AF65-F5344CB8AC3E}">
        <p14:creationId xmlns:p14="http://schemas.microsoft.com/office/powerpoint/2010/main" val="25813853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Date Placeholder 9"/>
          <p:cNvSpPr>
            <a:spLocks noGrp="1"/>
          </p:cNvSpPr>
          <p:nvPr>
            <p:ph type="dt" sz="half" idx="10"/>
          </p:nvPr>
        </p:nvSpPr>
        <p:spPr/>
        <p:txBody>
          <a:bodyPr/>
          <a:lstStyle/>
          <a:p>
            <a:r>
              <a:rPr lang="en-US"/>
              <a:t>05/12/2017 17:00</a:t>
            </a:r>
          </a:p>
        </p:txBody>
      </p:sp>
      <p:sp>
        <p:nvSpPr>
          <p:cNvPr id="11" name="Footer Placeholder 10"/>
          <p:cNvSpPr>
            <a:spLocks noGrp="1"/>
          </p:cNvSpPr>
          <p:nvPr>
            <p:ph type="ftr" sz="quarter" idx="11"/>
          </p:nvPr>
        </p:nvSpPr>
        <p:spPr>
          <a:xfrm>
            <a:off x="3153508" y="6640292"/>
            <a:ext cx="5884984" cy="210344"/>
          </a:xfrm>
        </p:spPr>
        <p:txBody>
          <a:bodyPr/>
          <a:lstStyle/>
          <a:p>
            <a:r>
              <a:rPr lang="en-US"/>
              <a:t>Global Identity for Consumer Constituents</a:t>
            </a:r>
          </a:p>
        </p:txBody>
      </p:sp>
      <p:sp>
        <p:nvSpPr>
          <p:cNvPr id="12" name="Slide Number Placeholder 11"/>
          <p:cNvSpPr>
            <a:spLocks noGrp="1"/>
          </p:cNvSpPr>
          <p:nvPr>
            <p:ph type="sldNum" sz="quarter" idx="12"/>
          </p:nvPr>
        </p:nvSpPr>
        <p:spPr/>
        <p:txBody>
          <a:bodyPr/>
          <a:lstStyle/>
          <a:p>
            <a:fld id="{17F265F4-24EA-4AD2-8515-72D816661190}" type="slidenum">
              <a:rPr lang="en-US" smtClean="0"/>
              <a:pPr/>
              <a:t>‹#›</a:t>
            </a:fld>
            <a:endParaRPr lang="en-US"/>
          </a:p>
        </p:txBody>
      </p:sp>
      <p:sp>
        <p:nvSpPr>
          <p:cNvPr id="16" name="Title 15"/>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1" name="Content Placeholder 20"/>
          <p:cNvSpPr>
            <a:spLocks noGrp="1"/>
          </p:cNvSpPr>
          <p:nvPr>
            <p:ph sz="quarter" idx="13"/>
          </p:nvPr>
        </p:nvSpPr>
        <p:spPr>
          <a:xfrm>
            <a:off x="480485" y="979488"/>
            <a:ext cx="11231033" cy="5273530"/>
          </a:xfrm>
        </p:spPr>
        <p:txBody>
          <a:bodyPr/>
          <a:lstStyle>
            <a:lvl1pPr>
              <a:defRPr baseline="0">
                <a:solidFill>
                  <a:schemeClr val="accent1">
                    <a:lumMod val="7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626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p:nvGrpSpPr>
        <p:grpSpPr>
          <a:xfrm>
            <a:off x="557929" y="429542"/>
            <a:ext cx="2872536"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465310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p:nvGrpSpPr>
        <p:grpSpPr>
          <a:xfrm>
            <a:off x="557929" y="429542"/>
            <a:ext cx="2872536"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073397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706551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943790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111489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0394550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79"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rPr>
              <a:t>©2020 CVS Health and/or one of its affiliates. Confidential and proprietary.</a:t>
            </a:r>
          </a:p>
        </p:txBody>
      </p:sp>
      <p:sp>
        <p:nvSpPr>
          <p:cNvPr id="15" name="MSIPCMContentMarking" descr="{&quot;HashCode&quot;:-356254672,&quot;Placement&quot;:&quot;Footer&quot;}">
            <a:extLst>
              <a:ext uri="{FF2B5EF4-FFF2-40B4-BE49-F238E27FC236}">
                <a16:creationId xmlns:a16="http://schemas.microsoft.com/office/drawing/2014/main" id="{9863BAEA-104C-4DC4-94EA-7C493069F129}"/>
              </a:ext>
            </a:extLst>
          </p:cNvPr>
          <p:cNvSpPr txBox="1"/>
          <p:nvPr userDrawn="1"/>
        </p:nvSpPr>
        <p:spPr>
          <a:xfrm>
            <a:off x="0" y="6629836"/>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Calibri" panose="020F0502020204030204" pitchFamily="34" charset="0"/>
                <a:cs typeface="Open Sans Light"/>
              </a:rPr>
              <a:t>Proprietary</a:t>
            </a:r>
          </a:p>
        </p:txBody>
      </p:sp>
      <p:pic>
        <p:nvPicPr>
          <p:cNvPr id="6" name="Picture 5" descr="A picture containing knife&#10;&#10;Description automatically generated">
            <a:extLst>
              <a:ext uri="{FF2B5EF4-FFF2-40B4-BE49-F238E27FC236}">
                <a16:creationId xmlns:a16="http://schemas.microsoft.com/office/drawing/2014/main" id="{DC13747A-EAA2-45E3-A8A0-1A494B86D158}"/>
              </a:ext>
            </a:extLst>
          </p:cNvPr>
          <p:cNvPicPr>
            <a:picLocks noChangeAspect="1"/>
          </p:cNvPicPr>
          <p:nvPr userDrawn="1"/>
        </p:nvPicPr>
        <p:blipFill>
          <a:blip r:embed="rId37"/>
          <a:stretch>
            <a:fillRect/>
          </a:stretch>
        </p:blipFill>
        <p:spPr>
          <a:xfrm>
            <a:off x="10285354" y="446389"/>
            <a:ext cx="1810965" cy="797194"/>
          </a:xfrm>
          <a:prstGeom prst="rect">
            <a:avLst/>
          </a:prstGeom>
        </p:spPr>
      </p:pic>
    </p:spTree>
    <p:extLst>
      <p:ext uri="{BB962C8B-B14F-4D97-AF65-F5344CB8AC3E}">
        <p14:creationId xmlns:p14="http://schemas.microsoft.com/office/powerpoint/2010/main" val="410697639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3" r:id="rId25"/>
    <p:sldLayoutId id="2147483854" r:id="rId26"/>
    <p:sldLayoutId id="2147483855" r:id="rId27"/>
    <p:sldLayoutId id="2147483856" r:id="rId28"/>
    <p:sldLayoutId id="2147483857" r:id="rId29"/>
    <p:sldLayoutId id="2147483859" r:id="rId30"/>
    <p:sldLayoutId id="2147483860" r:id="rId31"/>
    <p:sldLayoutId id="2147483852" r:id="rId32"/>
    <p:sldLayoutId id="2147483861" r:id="rId33"/>
    <p:sldLayoutId id="2147483863" r:id="rId34"/>
    <p:sldLayoutId id="2147483864" r:id="rId3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20.xml"/><Relationship Id="rId5" Type="http://schemas.openxmlformats.org/officeDocument/2006/relationships/image" Target="../media/image18.sv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slideLayout" Target="../slideLayouts/slideLayout33.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comments" Target="../comments/commen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208AD-B065-42AE-BC44-9C064C83105A}"/>
              </a:ext>
            </a:extLst>
          </p:cNvPr>
          <p:cNvSpPr>
            <a:spLocks noGrp="1"/>
          </p:cNvSpPr>
          <p:nvPr>
            <p:ph type="ctrTitle"/>
          </p:nvPr>
        </p:nvSpPr>
        <p:spPr/>
        <p:txBody>
          <a:bodyPr/>
          <a:lstStyle/>
          <a:p>
            <a:r>
              <a:rPr lang="en-US" dirty="0"/>
              <a:t>External Data Index - </a:t>
            </a:r>
            <a:r>
              <a:rPr lang="en-US" dirty="0" err="1"/>
              <a:t>PoV</a:t>
            </a:r>
            <a:endParaRPr lang="en-US" dirty="0"/>
          </a:p>
        </p:txBody>
      </p:sp>
      <p:sp>
        <p:nvSpPr>
          <p:cNvPr id="3" name="Text Placeholder 2">
            <a:extLst>
              <a:ext uri="{FF2B5EF4-FFF2-40B4-BE49-F238E27FC236}">
                <a16:creationId xmlns:a16="http://schemas.microsoft.com/office/drawing/2014/main" id="{AF0DA26D-3B67-40C8-9676-A9B16F9FFEA9}"/>
              </a:ext>
            </a:extLst>
          </p:cNvPr>
          <p:cNvSpPr>
            <a:spLocks noGrp="1"/>
          </p:cNvSpPr>
          <p:nvPr>
            <p:ph type="body" sz="quarter" idx="16"/>
          </p:nvPr>
        </p:nvSpPr>
        <p:spPr/>
        <p:txBody>
          <a:bodyPr vert="horz" lIns="0" tIns="0" rIns="0" bIns="0" rtlCol="0" anchor="t">
            <a:noAutofit/>
          </a:bodyPr>
          <a:lstStyle/>
          <a:p>
            <a:r>
              <a:rPr lang="en-US" dirty="0"/>
              <a:t>Karen Perez Diaz</a:t>
            </a:r>
          </a:p>
          <a:p>
            <a:r>
              <a:rPr lang="en-US" dirty="0"/>
              <a:t>March, 2021</a:t>
            </a:r>
          </a:p>
        </p:txBody>
      </p:sp>
    </p:spTree>
    <p:extLst>
      <p:ext uri="{BB962C8B-B14F-4D97-AF65-F5344CB8AC3E}">
        <p14:creationId xmlns:p14="http://schemas.microsoft.com/office/powerpoint/2010/main" val="3197154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idx="4294967295"/>
          </p:nvPr>
        </p:nvSpPr>
        <p:spPr>
          <a:xfrm>
            <a:off x="6733424" y="2875986"/>
            <a:ext cx="4882896" cy="713232"/>
          </a:xfrm>
        </p:spPr>
        <p:txBody>
          <a:bodyPr/>
          <a:lstStyle/>
          <a:p>
            <a:r>
              <a:rPr lang="en-US" sz="4000"/>
              <a:t>Into Action.</a:t>
            </a:r>
          </a:p>
        </p:txBody>
      </p:sp>
    </p:spTree>
    <p:extLst>
      <p:ext uri="{BB962C8B-B14F-4D97-AF65-F5344CB8AC3E}">
        <p14:creationId xmlns:p14="http://schemas.microsoft.com/office/powerpoint/2010/main" val="11582673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6E12D9D-AA9C-4FD9-9EAD-A7D0631B54D7}"/>
              </a:ext>
            </a:extLst>
          </p:cNvPr>
          <p:cNvSpPr>
            <a:spLocks noGrp="1"/>
          </p:cNvSpPr>
          <p:nvPr>
            <p:ph type="title"/>
          </p:nvPr>
        </p:nvSpPr>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Appendix</a:t>
            </a:r>
            <a:endParaRPr lang="en-US" dirty="0">
              <a:latin typeface="CVS Health Sans" panose="020B0504020202020204" pitchFamily="34" charset="0"/>
            </a:endParaRPr>
          </a:p>
        </p:txBody>
      </p:sp>
    </p:spTree>
    <p:extLst>
      <p:ext uri="{BB962C8B-B14F-4D97-AF65-F5344CB8AC3E}">
        <p14:creationId xmlns:p14="http://schemas.microsoft.com/office/powerpoint/2010/main" val="22822143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640E6-7AEE-418E-9E5A-5C6522F9D4FA}"/>
              </a:ext>
            </a:extLst>
          </p:cNvPr>
          <p:cNvSpPr>
            <a:spLocks noGrp="1"/>
          </p:cNvSpPr>
          <p:nvPr>
            <p:ph type="title"/>
          </p:nvPr>
        </p:nvSpPr>
        <p:spPr>
          <a:xfrm>
            <a:off x="481879" y="118042"/>
            <a:ext cx="5519444" cy="835613"/>
          </a:xfrm>
        </p:spPr>
        <p:txBody>
          <a:bodyPr/>
          <a:lstStyle/>
          <a:p>
            <a:r>
              <a:rPr lang="en-US" sz="2400" dirty="0"/>
              <a:t>Current: </a:t>
            </a:r>
            <a:r>
              <a:rPr lang="en-US" sz="2000" dirty="0"/>
              <a:t>Dispersed external data creates monumental inefficiencies</a:t>
            </a:r>
          </a:p>
        </p:txBody>
      </p:sp>
      <p:sp>
        <p:nvSpPr>
          <p:cNvPr id="3" name="Content Placeholder 2">
            <a:extLst>
              <a:ext uri="{FF2B5EF4-FFF2-40B4-BE49-F238E27FC236}">
                <a16:creationId xmlns:a16="http://schemas.microsoft.com/office/drawing/2014/main" id="{B8A13773-6D97-4265-909F-CEE51BA80EDA}"/>
              </a:ext>
            </a:extLst>
          </p:cNvPr>
          <p:cNvSpPr>
            <a:spLocks noGrp="1"/>
          </p:cNvSpPr>
          <p:nvPr>
            <p:ph sz="half" idx="2"/>
          </p:nvPr>
        </p:nvSpPr>
        <p:spPr>
          <a:xfrm>
            <a:off x="253635" y="833582"/>
            <a:ext cx="5677699" cy="5650346"/>
          </a:xfrm>
        </p:spPr>
        <p:txBody>
          <a:bodyPr/>
          <a:lstStyle/>
          <a:p>
            <a:pPr marL="0" lvl="2" indent="0">
              <a:spcBef>
                <a:spcPts val="1200"/>
              </a:spcBef>
              <a:buNone/>
            </a:pPr>
            <a:r>
              <a:rPr lang="en-US" sz="1799" b="1" dirty="0">
                <a:latin typeface="Calibri" panose="020F0502020204030204" pitchFamily="34" charset="0"/>
                <a:cs typeface="Calibri" panose="020F0502020204030204" pitchFamily="34" charset="0"/>
              </a:rPr>
              <a:t>MCR VBC provider data is scattered across 7 data channels</a:t>
            </a:r>
          </a:p>
          <a:p>
            <a:pPr marL="917385" lvl="3" indent="-285750">
              <a:buBlip>
                <a:blip r:embed="rId2">
                  <a:extLst>
                    <a:ext uri="{96DAC541-7B7A-43D3-8B79-37D633B846F1}">
                      <asvg:svgBlip xmlns:asvg="http://schemas.microsoft.com/office/drawing/2016/SVG/main" r:embed="rId3"/>
                    </a:ext>
                  </a:extLst>
                </a:blip>
              </a:buBlip>
            </a:pPr>
            <a:r>
              <a:rPr lang="en-US" sz="1400" dirty="0">
                <a:latin typeface="Calibri" panose="020F0502020204030204" pitchFamily="34" charset="0"/>
                <a:cs typeface="Calibri" panose="020F0502020204030204" pitchFamily="34" charset="0"/>
              </a:rPr>
              <a:t>Cannot identify or correct data issues </a:t>
            </a:r>
            <a:r>
              <a:rPr lang="en-US" sz="1400" b="1" u="sng" dirty="0">
                <a:latin typeface="Calibri" panose="020F0502020204030204" pitchFamily="34" charset="0"/>
                <a:cs typeface="Calibri" panose="020F0502020204030204" pitchFamily="34" charset="0"/>
              </a:rPr>
              <a:t>= duplicate claims, inaccurate or incomplete data</a:t>
            </a:r>
          </a:p>
          <a:p>
            <a:pPr marL="917385" lvl="3" indent="-285750">
              <a:buBlip>
                <a:blip r:embed="rId2">
                  <a:extLst>
                    <a:ext uri="{96DAC541-7B7A-43D3-8B79-37D633B846F1}">
                      <asvg:svgBlip xmlns:asvg="http://schemas.microsoft.com/office/drawing/2016/SVG/main" r:embed="rId3"/>
                    </a:ext>
                  </a:extLst>
                </a:blip>
              </a:buBlip>
            </a:pPr>
            <a:r>
              <a:rPr lang="en-US" sz="1400" dirty="0">
                <a:latin typeface="Calibri" panose="020F0502020204030204" pitchFamily="34" charset="0"/>
                <a:cs typeface="Calibri" panose="020F0502020204030204" pitchFamily="34" charset="0"/>
              </a:rPr>
              <a:t>Full PSV audit required, high degree of data inconsistencies             </a:t>
            </a:r>
            <a:r>
              <a:rPr lang="en-US" sz="1400" b="1" u="sng" dirty="0">
                <a:latin typeface="Calibri" panose="020F0502020204030204" pitchFamily="34" charset="0"/>
                <a:cs typeface="Calibri" panose="020F0502020204030204" pitchFamily="34" charset="0"/>
              </a:rPr>
              <a:t>= fail rate &gt; 80% </a:t>
            </a:r>
          </a:p>
          <a:p>
            <a:pPr marL="917385" lvl="3" indent="-285750">
              <a:buBlip>
                <a:blip r:embed="rId2">
                  <a:extLst>
                    <a:ext uri="{96DAC541-7B7A-43D3-8B79-37D633B846F1}">
                      <asvg:svgBlip xmlns:asvg="http://schemas.microsoft.com/office/drawing/2016/SVG/main" r:embed="rId3"/>
                    </a:ext>
                  </a:extLst>
                </a:blip>
              </a:buBlip>
            </a:pPr>
            <a:r>
              <a:rPr lang="en-US" sz="1400" dirty="0">
                <a:latin typeface="Calibri" panose="020F0502020204030204" pitchFamily="34" charset="0"/>
                <a:cs typeface="Calibri" panose="020F0502020204030204" pitchFamily="34" charset="0"/>
              </a:rPr>
              <a:t>Delays in data processing (6-10 weeks), limited transparency          </a:t>
            </a:r>
            <a:r>
              <a:rPr lang="en-US" sz="1400" b="1" u="sng" dirty="0">
                <a:latin typeface="Calibri" panose="020F0502020204030204" pitchFamily="34" charset="0"/>
                <a:cs typeface="Calibri" panose="020F0502020204030204" pitchFamily="34" charset="0"/>
              </a:rPr>
              <a:t>= provider abrasion</a:t>
            </a:r>
          </a:p>
          <a:p>
            <a:pPr marL="0" lvl="2" indent="0">
              <a:spcBef>
                <a:spcPts val="1200"/>
              </a:spcBef>
              <a:buNone/>
            </a:pPr>
            <a:r>
              <a:rPr lang="en-US" sz="1799" b="1" dirty="0">
                <a:latin typeface="Calibri" panose="020F0502020204030204" pitchFamily="34" charset="0"/>
                <a:cs typeface="Calibri" panose="020F0502020204030204" pitchFamily="34" charset="0"/>
              </a:rPr>
              <a:t>Medical records - 3M medical records annually </a:t>
            </a:r>
          </a:p>
          <a:p>
            <a:pPr marL="917385" lvl="3" indent="-285750">
              <a:buBlip>
                <a:blip r:embed="rId2">
                  <a:extLst>
                    <a:ext uri="{96DAC541-7B7A-43D3-8B79-37D633B846F1}">
                      <asvg:svgBlip xmlns:asvg="http://schemas.microsoft.com/office/drawing/2016/SVG/main" r:embed="rId3"/>
                    </a:ext>
                  </a:extLst>
                </a:blip>
              </a:buBlip>
            </a:pPr>
            <a:r>
              <a:rPr lang="en-US" sz="1400" dirty="0">
                <a:latin typeface="Calibri" panose="020F0502020204030204" pitchFamily="34" charset="0"/>
                <a:cs typeface="Calibri" panose="020F0502020204030204" pitchFamily="34" charset="0"/>
              </a:rPr>
              <a:t>Many requests require payment </a:t>
            </a:r>
            <a:r>
              <a:rPr lang="en-US" sz="1400" b="1" u="sng" dirty="0">
                <a:latin typeface="Calibri" panose="020F0502020204030204" pitchFamily="34" charset="0"/>
                <a:cs typeface="Calibri" panose="020F0502020204030204" pitchFamily="34" charset="0"/>
              </a:rPr>
              <a:t>= cost of 10-$30/record</a:t>
            </a:r>
          </a:p>
          <a:p>
            <a:pPr marL="917385" lvl="3" indent="-285750">
              <a:buBlip>
                <a:blip r:embed="rId2">
                  <a:extLst>
                    <a:ext uri="{96DAC541-7B7A-43D3-8B79-37D633B846F1}">
                      <asvg:svgBlip xmlns:asvg="http://schemas.microsoft.com/office/drawing/2016/SVG/main" r:embed="rId3"/>
                    </a:ext>
                  </a:extLst>
                </a:blip>
              </a:buBlip>
            </a:pPr>
            <a:r>
              <a:rPr lang="en-US" sz="1400" dirty="0">
                <a:latin typeface="Calibri" panose="020F0502020204030204" pitchFamily="34" charset="0"/>
                <a:cs typeface="Calibri" panose="020F0502020204030204" pitchFamily="34" charset="0"/>
              </a:rPr>
              <a:t>Records stored in multiple locations </a:t>
            </a:r>
            <a:r>
              <a:rPr lang="en-US" sz="1400" b="1" u="sng" dirty="0">
                <a:latin typeface="Calibri" panose="020F0502020204030204" pitchFamily="34" charset="0"/>
                <a:cs typeface="Calibri" panose="020F0502020204030204" pitchFamily="34" charset="0"/>
              </a:rPr>
              <a:t>= delayed care, unnecessary requests </a:t>
            </a:r>
          </a:p>
          <a:p>
            <a:pPr marL="917385" lvl="3" indent="-285750">
              <a:buBlip>
                <a:blip r:embed="rId2">
                  <a:extLst>
                    <a:ext uri="{96DAC541-7B7A-43D3-8B79-37D633B846F1}">
                      <asvg:svgBlip xmlns:asvg="http://schemas.microsoft.com/office/drawing/2016/SVG/main" r:embed="rId3"/>
                    </a:ext>
                  </a:extLst>
                </a:blip>
              </a:buBlip>
            </a:pPr>
            <a:r>
              <a:rPr lang="en-US" sz="1400" dirty="0">
                <a:latin typeface="Calibri" panose="020F0502020204030204" pitchFamily="34" charset="0"/>
                <a:cs typeface="Calibri" panose="020F0502020204030204" pitchFamily="34" charset="0"/>
              </a:rPr>
              <a:t>The industry is moving to digital data </a:t>
            </a:r>
            <a:r>
              <a:rPr lang="en-US" sz="1400" b="1" u="sng" dirty="0">
                <a:latin typeface="Calibri" panose="020F0502020204030204" pitchFamily="34" charset="0"/>
                <a:cs typeface="Calibri" panose="020F0502020204030204" pitchFamily="34" charset="0"/>
              </a:rPr>
              <a:t>= CMS deadline for HEDIS digital reporting by 2025)</a:t>
            </a:r>
          </a:p>
          <a:p>
            <a:pPr marL="0" lvl="2" indent="0">
              <a:spcBef>
                <a:spcPts val="1200"/>
              </a:spcBef>
              <a:buNone/>
            </a:pPr>
            <a:r>
              <a:rPr lang="en-US" sz="1799" b="1" dirty="0">
                <a:latin typeface="Calibri" panose="020F0502020204030204" pitchFamily="34" charset="0"/>
                <a:cs typeface="Calibri" panose="020F0502020204030204" pitchFamily="34" charset="0"/>
              </a:rPr>
              <a:t>Data Operations </a:t>
            </a:r>
          </a:p>
          <a:p>
            <a:pPr marL="917385" lvl="3" indent="-285750">
              <a:buBlip>
                <a:blip r:embed="rId2">
                  <a:extLst>
                    <a:ext uri="{96DAC541-7B7A-43D3-8B79-37D633B846F1}">
                      <asvg:svgBlip xmlns:asvg="http://schemas.microsoft.com/office/drawing/2016/SVG/main" r:embed="rId3"/>
                    </a:ext>
                  </a:extLst>
                </a:blip>
              </a:buBlip>
            </a:pPr>
            <a:r>
              <a:rPr lang="en-US" sz="1400" dirty="0">
                <a:latin typeface="Calibri" panose="020F0502020204030204" pitchFamily="34" charset="0"/>
                <a:cs typeface="Calibri" panose="020F0502020204030204" pitchFamily="34" charset="0"/>
              </a:rPr>
              <a:t>Inconsistent ETL processes among multiple teams </a:t>
            </a:r>
            <a:r>
              <a:rPr lang="en-US" sz="1400" b="1" u="sng" dirty="0">
                <a:latin typeface="Calibri" panose="020F0502020204030204" pitchFamily="34" charset="0"/>
                <a:cs typeface="Calibri" panose="020F0502020204030204" pitchFamily="34" charset="0"/>
              </a:rPr>
              <a:t>= incorrect member match, data loss, system wide errors due to bad data</a:t>
            </a:r>
          </a:p>
          <a:p>
            <a:pPr marL="917385" lvl="3" indent="-285750">
              <a:buBlip>
                <a:blip r:embed="rId2">
                  <a:extLst>
                    <a:ext uri="{96DAC541-7B7A-43D3-8B79-37D633B846F1}">
                      <asvg:svgBlip xmlns:asvg="http://schemas.microsoft.com/office/drawing/2016/SVG/main" r:embed="rId3"/>
                    </a:ext>
                  </a:extLst>
                </a:blip>
              </a:buBlip>
            </a:pPr>
            <a:r>
              <a:rPr lang="en-US" sz="1400" dirty="0">
                <a:latin typeface="Calibri" panose="020F0502020204030204" pitchFamily="34" charset="0"/>
                <a:cs typeface="Calibri" panose="020F0502020204030204" pitchFamily="34" charset="0"/>
              </a:rPr>
              <a:t>Multiple instances of data stores detached from the warehouse     </a:t>
            </a:r>
            <a:r>
              <a:rPr lang="en-US" sz="1400" b="1" u="sng" dirty="0">
                <a:latin typeface="Calibri" panose="020F0502020204030204" pitchFamily="34" charset="0"/>
                <a:cs typeface="Calibri" panose="020F0502020204030204" pitchFamily="34" charset="0"/>
              </a:rPr>
              <a:t>= Increased costs &amp; inefficiencies </a:t>
            </a:r>
          </a:p>
          <a:p>
            <a:pPr marL="917385" lvl="3" indent="-285750">
              <a:buBlip>
                <a:blip r:embed="rId2">
                  <a:extLst>
                    <a:ext uri="{96DAC541-7B7A-43D3-8B79-37D633B846F1}">
                      <asvg:svgBlip xmlns:asvg="http://schemas.microsoft.com/office/drawing/2016/SVG/main" r:embed="rId3"/>
                    </a:ext>
                  </a:extLst>
                </a:blip>
              </a:buBlip>
            </a:pPr>
            <a:r>
              <a:rPr lang="en-US" sz="1400" dirty="0">
                <a:latin typeface="Calibri" panose="020F0502020204030204" pitchFamily="34" charset="0"/>
                <a:cs typeface="Calibri" panose="020F0502020204030204" pitchFamily="34" charset="0"/>
              </a:rPr>
              <a:t>Multiple contracts with the same vendor </a:t>
            </a:r>
            <a:r>
              <a:rPr lang="en-US" sz="1400" b="1" u="sng" dirty="0">
                <a:latin typeface="Calibri" panose="020F0502020204030204" pitchFamily="34" charset="0"/>
                <a:cs typeface="Calibri" panose="020F0502020204030204" pitchFamily="34" charset="0"/>
              </a:rPr>
              <a:t>= excess cost, inefficient processes, introduces compliance and privacy risk</a:t>
            </a:r>
            <a:endParaRPr lang="en-US" sz="1400" b="1" u="sng" dirty="0"/>
          </a:p>
          <a:p>
            <a:pPr lvl="2" indent="0">
              <a:buNone/>
            </a:pPr>
            <a:endParaRPr lang="en-US" sz="1201" dirty="0">
              <a:latin typeface="Calibri" panose="020F0502020204030204" pitchFamily="34" charset="0"/>
              <a:cs typeface="Calibri" panose="020F0502020204030204" pitchFamily="34" charset="0"/>
            </a:endParaRPr>
          </a:p>
          <a:p>
            <a:endParaRPr lang="en-US" sz="1400" b="0" dirty="0">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12DFC168-D519-4FD7-8853-D511B39A0245}"/>
              </a:ext>
            </a:extLst>
          </p:cNvPr>
          <p:cNvSpPr>
            <a:spLocks noGrp="1"/>
          </p:cNvSpPr>
          <p:nvPr>
            <p:ph sz="quarter" idx="4"/>
          </p:nvPr>
        </p:nvSpPr>
        <p:spPr>
          <a:xfrm>
            <a:off x="6159579" y="831274"/>
            <a:ext cx="6030835" cy="6326633"/>
          </a:xfrm>
        </p:spPr>
        <p:txBody>
          <a:bodyPr/>
          <a:lstStyle/>
          <a:p>
            <a:pPr algn="l"/>
            <a:r>
              <a:rPr lang="en-US" dirty="0">
                <a:latin typeface="Calibri" panose="020F0502020204030204" pitchFamily="34" charset="0"/>
                <a:cs typeface="Calibri" panose="020F0502020204030204" pitchFamily="34" charset="0"/>
              </a:rPr>
              <a:t>Strategic VBC Provider Data</a:t>
            </a:r>
            <a:endParaRPr lang="en-US" sz="1400" b="0" dirty="0">
              <a:latin typeface="Calibri" panose="020F0502020204030204" pitchFamily="34" charset="0"/>
              <a:cs typeface="Calibri" panose="020F0502020204030204" pitchFamily="34" charset="0"/>
            </a:endParaRPr>
          </a:p>
          <a:p>
            <a:pPr marL="974535" lvl="3" indent="-342900">
              <a:buBlip>
                <a:blip r:embed="rId4">
                  <a:extLst>
                    <a:ext uri="{96DAC541-7B7A-43D3-8B79-37D633B846F1}">
                      <asvg:svgBlip xmlns:asvg="http://schemas.microsoft.com/office/drawing/2016/SVG/main" r:embed="rId5"/>
                    </a:ext>
                  </a:extLst>
                </a:blip>
              </a:buBlip>
            </a:pPr>
            <a:r>
              <a:rPr lang="en-US" sz="1400" dirty="0">
                <a:latin typeface="Calibri" panose="020F0502020204030204" pitchFamily="34" charset="0"/>
                <a:cs typeface="Calibri" panose="020F0502020204030204" pitchFamily="34" charset="0"/>
              </a:rPr>
              <a:t>Validation processes to identify and resolve data issues (duplicates, inaccurate or incomplete data) </a:t>
            </a:r>
            <a:r>
              <a:rPr lang="en-US" sz="1400" b="1" u="sng" dirty="0">
                <a:latin typeface="Calibri" panose="020F0502020204030204" pitchFamily="34" charset="0"/>
                <a:cs typeface="Calibri" panose="020F0502020204030204" pitchFamily="34" charset="0"/>
              </a:rPr>
              <a:t>= cost savings, data integrity</a:t>
            </a:r>
          </a:p>
          <a:p>
            <a:pPr marL="974535" lvl="3" indent="-342900">
              <a:buBlip>
                <a:blip r:embed="rId4">
                  <a:extLst>
                    <a:ext uri="{96DAC541-7B7A-43D3-8B79-37D633B846F1}">
                      <asvg:svgBlip xmlns:asvg="http://schemas.microsoft.com/office/drawing/2016/SVG/main" r:embed="rId5"/>
                    </a:ext>
                  </a:extLst>
                </a:blip>
              </a:buBlip>
            </a:pPr>
            <a:r>
              <a:rPr lang="en-US" sz="1400" dirty="0">
                <a:latin typeface="Calibri" panose="020F0502020204030204" pitchFamily="34" charset="0"/>
                <a:cs typeface="Calibri" panose="020F0502020204030204" pitchFamily="34" charset="0"/>
              </a:rPr>
              <a:t>Providers only send the data that’s needed </a:t>
            </a:r>
            <a:r>
              <a:rPr lang="en-US" sz="1400" b="1" u="sng" dirty="0">
                <a:latin typeface="Calibri" panose="020F0502020204030204" pitchFamily="34" charset="0"/>
                <a:cs typeface="Calibri" panose="020F0502020204030204" pitchFamily="34" charset="0"/>
              </a:rPr>
              <a:t>= minimal PSV audits, increased satisfaction</a:t>
            </a:r>
          </a:p>
          <a:p>
            <a:pPr marL="974535" lvl="3" indent="-342900">
              <a:buBlip>
                <a:blip r:embed="rId4">
                  <a:extLst>
                    <a:ext uri="{96DAC541-7B7A-43D3-8B79-37D633B846F1}">
                      <asvg:svgBlip xmlns:asvg="http://schemas.microsoft.com/office/drawing/2016/SVG/main" r:embed="rId5"/>
                    </a:ext>
                  </a:extLst>
                </a:blip>
              </a:buBlip>
            </a:pPr>
            <a:r>
              <a:rPr lang="en-US" sz="1400" dirty="0">
                <a:latin typeface="Calibri" panose="020F0502020204030204" pitchFamily="34" charset="0"/>
                <a:cs typeface="Calibri" panose="020F0502020204030204" pitchFamily="34" charset="0"/>
              </a:rPr>
              <a:t>Meet the providers with data and technology that drives improved health outcomes (soft gap closure, bi-directional data, FHIR APIs)        </a:t>
            </a:r>
            <a:r>
              <a:rPr lang="en-US" sz="1400" b="1" u="sng" dirty="0">
                <a:latin typeface="Calibri" panose="020F0502020204030204" pitchFamily="34" charset="0"/>
                <a:cs typeface="Calibri" panose="020F0502020204030204" pitchFamily="34" charset="0"/>
              </a:rPr>
              <a:t>= positive provider &amp; member engagement, timely care coordination</a:t>
            </a:r>
            <a:endParaRPr lang="en-US" sz="1201" b="1" u="sng" dirty="0">
              <a:latin typeface="Calibri" panose="020F0502020204030204" pitchFamily="34" charset="0"/>
              <a:cs typeface="Calibri" panose="020F0502020204030204" pitchFamily="34" charset="0"/>
            </a:endParaRPr>
          </a:p>
          <a:p>
            <a:pPr algn="l"/>
            <a:r>
              <a:rPr lang="en-US" dirty="0">
                <a:latin typeface="Calibri" panose="020F0502020204030204" pitchFamily="34" charset="0"/>
                <a:cs typeface="Calibri" panose="020F0502020204030204" pitchFamily="34" charset="0"/>
              </a:rPr>
              <a:t>Limited Medical Record Requests</a:t>
            </a:r>
          </a:p>
          <a:p>
            <a:pPr marL="974535" lvl="3" indent="-342900">
              <a:buBlip>
                <a:blip r:embed="rId4">
                  <a:extLst>
                    <a:ext uri="{96DAC541-7B7A-43D3-8B79-37D633B846F1}">
                      <asvg:svgBlip xmlns:asvg="http://schemas.microsoft.com/office/drawing/2016/SVG/main" r:embed="rId5"/>
                    </a:ext>
                  </a:extLst>
                </a:blip>
              </a:buBlip>
            </a:pPr>
            <a:r>
              <a:rPr lang="en-US" sz="1400" dirty="0">
                <a:latin typeface="Calibri" panose="020F0502020204030204" pitchFamily="34" charset="0"/>
                <a:cs typeface="Calibri" panose="020F0502020204030204" pitchFamily="34" charset="0"/>
              </a:rPr>
              <a:t>Only pay for records we need – timely access to consolidated data =  </a:t>
            </a:r>
            <a:r>
              <a:rPr lang="en-US" sz="1400" b="1" u="sng" dirty="0">
                <a:latin typeface="Calibri" panose="020F0502020204030204" pitchFamily="34" charset="0"/>
                <a:cs typeface="Calibri" panose="020F0502020204030204" pitchFamily="34" charset="0"/>
              </a:rPr>
              <a:t>cost savings with reduced record requests</a:t>
            </a:r>
          </a:p>
          <a:p>
            <a:pPr marL="974535" lvl="3" indent="-342900">
              <a:buBlip>
                <a:blip r:embed="rId4">
                  <a:extLst>
                    <a:ext uri="{96DAC541-7B7A-43D3-8B79-37D633B846F1}">
                      <asvg:svgBlip xmlns:asvg="http://schemas.microsoft.com/office/drawing/2016/SVG/main" r:embed="rId5"/>
                    </a:ext>
                  </a:extLst>
                </a:blip>
              </a:buBlip>
            </a:pPr>
            <a:r>
              <a:rPr lang="en-US" sz="1400" dirty="0">
                <a:latin typeface="Calibri" panose="020F0502020204030204" pitchFamily="34" charset="0"/>
                <a:cs typeface="Calibri" panose="020F0502020204030204" pitchFamily="34" charset="0"/>
              </a:rPr>
              <a:t>Use technology to digitize medical records (NLP, X12 Availity data exchange providers) = </a:t>
            </a:r>
            <a:r>
              <a:rPr lang="en-US" sz="1400" b="1" u="sng" dirty="0">
                <a:latin typeface="Calibri" panose="020F0502020204030204" pitchFamily="34" charset="0"/>
                <a:cs typeface="Calibri" panose="020F0502020204030204" pitchFamily="34" charset="0"/>
              </a:rPr>
              <a:t>timely and actionable data in one location</a:t>
            </a:r>
          </a:p>
          <a:p>
            <a:pPr marL="0" lvl="2">
              <a:spcBef>
                <a:spcPts val="1200"/>
              </a:spcBef>
            </a:pPr>
            <a:r>
              <a:rPr lang="en-US" sz="1799" b="1" dirty="0">
                <a:latin typeface="Calibri" panose="020F0502020204030204" pitchFamily="34" charset="0"/>
                <a:cs typeface="Calibri" panose="020F0502020204030204" pitchFamily="34" charset="0"/>
              </a:rPr>
              <a:t>Data Operations</a:t>
            </a:r>
          </a:p>
          <a:p>
            <a:pPr marL="974535" lvl="3" indent="-342900">
              <a:buBlip>
                <a:blip r:embed="rId4">
                  <a:extLst>
                    <a:ext uri="{96DAC541-7B7A-43D3-8B79-37D633B846F1}">
                      <asvg:svgBlip xmlns:asvg="http://schemas.microsoft.com/office/drawing/2016/SVG/main" r:embed="rId5"/>
                    </a:ext>
                  </a:extLst>
                </a:blip>
              </a:buBlip>
            </a:pPr>
            <a:r>
              <a:rPr lang="en-US" sz="1400" dirty="0">
                <a:latin typeface="Calibri" panose="020F0502020204030204" pitchFamily="34" charset="0"/>
                <a:cs typeface="Calibri" panose="020F0502020204030204" pitchFamily="34" charset="0"/>
              </a:rPr>
              <a:t>Opportunities to streamline data ingestion utilizing consistent layouts and “best in class” data processes = </a:t>
            </a:r>
            <a:r>
              <a:rPr lang="en-US" sz="1400" b="1" u="sng" dirty="0">
                <a:latin typeface="Calibri" panose="020F0502020204030204" pitchFamily="34" charset="0"/>
                <a:cs typeface="Calibri" panose="020F0502020204030204" pitchFamily="34" charset="0"/>
              </a:rPr>
              <a:t>limited ingestion teams,</a:t>
            </a:r>
            <a:r>
              <a:rPr lang="en-US" sz="1400" u="sng" dirty="0">
                <a:latin typeface="Calibri" panose="020F0502020204030204" pitchFamily="34" charset="0"/>
                <a:cs typeface="Calibri" panose="020F0502020204030204" pitchFamily="34" charset="0"/>
              </a:rPr>
              <a:t> </a:t>
            </a:r>
            <a:r>
              <a:rPr lang="en-US" sz="1400" b="1" u="sng" dirty="0">
                <a:latin typeface="Calibri" panose="020F0502020204030204" pitchFamily="34" charset="0"/>
                <a:cs typeface="Calibri" panose="020F0502020204030204" pitchFamily="34" charset="0"/>
              </a:rPr>
              <a:t>increased data accuracy and data volume</a:t>
            </a:r>
            <a:endParaRPr lang="en-US" sz="1400" dirty="0">
              <a:latin typeface="Calibri" panose="020F0502020204030204" pitchFamily="34" charset="0"/>
              <a:cs typeface="Calibri" panose="020F0502020204030204" pitchFamily="34" charset="0"/>
            </a:endParaRPr>
          </a:p>
          <a:p>
            <a:pPr marL="974535" lvl="3" indent="-342900">
              <a:buBlip>
                <a:blip r:embed="rId4">
                  <a:extLst>
                    <a:ext uri="{96DAC541-7B7A-43D3-8B79-37D633B846F1}">
                      <asvg:svgBlip xmlns:asvg="http://schemas.microsoft.com/office/drawing/2016/SVG/main" r:embed="rId5"/>
                    </a:ext>
                  </a:extLst>
                </a:blip>
              </a:buBlip>
            </a:pPr>
            <a:r>
              <a:rPr lang="en-US" sz="1400" dirty="0">
                <a:latin typeface="Calibri" panose="020F0502020204030204" pitchFamily="34" charset="0"/>
                <a:cs typeface="Calibri" panose="020F0502020204030204" pitchFamily="34" charset="0"/>
              </a:rPr>
              <a:t>Take a strategic approach to data - Pursue data where gaps exist and cancel data where saturation exists </a:t>
            </a:r>
            <a:r>
              <a:rPr lang="en-US" sz="1400" b="1" u="sng" dirty="0">
                <a:latin typeface="Calibri" panose="020F0502020204030204" pitchFamily="34" charset="0"/>
                <a:cs typeface="Calibri" panose="020F0502020204030204" pitchFamily="34" charset="0"/>
              </a:rPr>
              <a:t>=loading data that has a purpose, effective and efficient processes</a:t>
            </a:r>
          </a:p>
          <a:p>
            <a:pPr marL="974535" lvl="3" indent="-342900">
              <a:buBlip>
                <a:blip r:embed="rId4">
                  <a:extLst>
                    <a:ext uri="{96DAC541-7B7A-43D3-8B79-37D633B846F1}">
                      <asvg:svgBlip xmlns:asvg="http://schemas.microsoft.com/office/drawing/2016/SVG/main" r:embed="rId5"/>
                    </a:ext>
                  </a:extLst>
                </a:blip>
              </a:buBlip>
            </a:pPr>
            <a:r>
              <a:rPr lang="en-US" sz="1400" dirty="0">
                <a:latin typeface="Calibri" panose="020F0502020204030204" pitchFamily="34" charset="0"/>
                <a:cs typeface="Calibri" panose="020F0502020204030204" pitchFamily="34" charset="0"/>
              </a:rPr>
              <a:t>Consolidate contracts </a:t>
            </a:r>
            <a:r>
              <a:rPr lang="en-US" sz="1400" b="1" i="1" u="sng" dirty="0">
                <a:latin typeface="Calibri" panose="020F0502020204030204" pitchFamily="34" charset="0"/>
                <a:cs typeface="Calibri" panose="020F0502020204030204" pitchFamily="34" charset="0"/>
              </a:rPr>
              <a:t>=cost savings with volume discounts, reduced compliance and privacy risk</a:t>
            </a:r>
          </a:p>
          <a:p>
            <a:endParaRPr lang="en-US" dirty="0"/>
          </a:p>
        </p:txBody>
      </p:sp>
      <p:sp>
        <p:nvSpPr>
          <p:cNvPr id="5" name="Title 1">
            <a:extLst>
              <a:ext uri="{FF2B5EF4-FFF2-40B4-BE49-F238E27FC236}">
                <a16:creationId xmlns:a16="http://schemas.microsoft.com/office/drawing/2014/main" id="{1417D98A-488A-4131-BF13-5DD8244A0C1A}"/>
              </a:ext>
            </a:extLst>
          </p:cNvPr>
          <p:cNvSpPr txBox="1">
            <a:spLocks/>
          </p:cNvSpPr>
          <p:nvPr/>
        </p:nvSpPr>
        <p:spPr>
          <a:xfrm>
            <a:off x="6454629" y="118041"/>
            <a:ext cx="5630790" cy="713232"/>
          </a:xfrm>
          <a:prstGeom prst="rect">
            <a:avLst/>
          </a:prstGeom>
        </p:spPr>
        <p:txBody>
          <a:bodyPr vert="horz" lIns="0" tIns="0" rIns="0" bIns="0" rtlCol="0" anchor="t" anchorCtr="0">
            <a:noAutofit/>
          </a:bodyPr>
          <a:lstStyle>
            <a:lvl1pPr algn="l" defTabSz="457063" rtl="0" eaLnBrk="1" latinLnBrk="0" hangingPunct="1">
              <a:lnSpc>
                <a:spcPct val="90000"/>
              </a:lnSpc>
              <a:spcBef>
                <a:spcPct val="0"/>
              </a:spcBef>
              <a:buNone/>
              <a:defRPr sz="2599" b="1" kern="1200">
                <a:solidFill>
                  <a:schemeClr val="tx2"/>
                </a:solidFill>
                <a:latin typeface="+mj-lt"/>
                <a:ea typeface="+mj-ea"/>
                <a:cs typeface="+mj-cs"/>
              </a:defRPr>
            </a:lvl1pPr>
          </a:lstStyle>
          <a:p>
            <a:r>
              <a:rPr lang="en-US" sz="2400" dirty="0">
                <a:solidFill>
                  <a:schemeClr val="bg1"/>
                </a:solidFill>
              </a:rPr>
              <a:t>Future: </a:t>
            </a:r>
            <a:r>
              <a:rPr lang="en-US" sz="2000" dirty="0">
                <a:solidFill>
                  <a:schemeClr val="bg1"/>
                </a:solidFill>
              </a:rPr>
              <a:t>Consolidated external data creates clinical insight and efficiencies</a:t>
            </a:r>
          </a:p>
        </p:txBody>
      </p:sp>
      <p:sp>
        <p:nvSpPr>
          <p:cNvPr id="6" name="TextBox 5">
            <a:extLst>
              <a:ext uri="{FF2B5EF4-FFF2-40B4-BE49-F238E27FC236}">
                <a16:creationId xmlns:a16="http://schemas.microsoft.com/office/drawing/2014/main" id="{1FFDE395-3806-49D0-973F-A879AB3E7945}"/>
              </a:ext>
            </a:extLst>
          </p:cNvPr>
          <p:cNvSpPr txBox="1"/>
          <p:nvPr/>
        </p:nvSpPr>
        <p:spPr>
          <a:xfrm>
            <a:off x="884583" y="6659217"/>
            <a:ext cx="4721087" cy="157685"/>
          </a:xfrm>
          <a:prstGeom prst="rect">
            <a:avLst/>
          </a:prstGeom>
          <a:noFill/>
        </p:spPr>
        <p:txBody>
          <a:bodyPr wrap="square" lIns="0" tIns="0" rIns="0" bIns="0" rtlCol="0">
            <a:spAutoFit/>
          </a:bodyPr>
          <a:lstStyle/>
          <a:p>
            <a:r>
              <a:rPr lang="en-US" sz="1000" dirty="0">
                <a:solidFill>
                  <a:schemeClr val="tx2"/>
                </a:solidFill>
              </a:rPr>
              <a:t>*Created and provided by Kim Strand </a:t>
            </a:r>
          </a:p>
        </p:txBody>
      </p:sp>
    </p:spTree>
    <p:extLst>
      <p:ext uri="{BB962C8B-B14F-4D97-AF65-F5344CB8AC3E}">
        <p14:creationId xmlns:p14="http://schemas.microsoft.com/office/powerpoint/2010/main" val="995053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237CE-3A92-4002-80F1-0EEA28F18B26}"/>
              </a:ext>
            </a:extLst>
          </p:cNvPr>
          <p:cNvSpPr>
            <a:spLocks noGrp="1"/>
          </p:cNvSpPr>
          <p:nvPr>
            <p:ph type="title"/>
          </p:nvPr>
        </p:nvSpPr>
        <p:spPr/>
        <p:txBody>
          <a:bodyPr/>
          <a:lstStyle/>
          <a:p>
            <a:r>
              <a:rPr lang="en-US" dirty="0"/>
              <a:t>Additional Cost Saving Opportunities</a:t>
            </a:r>
          </a:p>
        </p:txBody>
      </p:sp>
      <p:sp>
        <p:nvSpPr>
          <p:cNvPr id="3" name="Content Placeholder 2">
            <a:extLst>
              <a:ext uri="{FF2B5EF4-FFF2-40B4-BE49-F238E27FC236}">
                <a16:creationId xmlns:a16="http://schemas.microsoft.com/office/drawing/2014/main" id="{47F40005-7674-405F-9FCC-46E517E8EA50}"/>
              </a:ext>
            </a:extLst>
          </p:cNvPr>
          <p:cNvSpPr>
            <a:spLocks noGrp="1"/>
          </p:cNvSpPr>
          <p:nvPr>
            <p:ph idx="1"/>
          </p:nvPr>
        </p:nvSpPr>
        <p:spPr>
          <a:xfrm>
            <a:off x="559372" y="1243583"/>
            <a:ext cx="10572034" cy="4815473"/>
          </a:xfrm>
        </p:spPr>
        <p:txBody>
          <a:bodyPr/>
          <a:lstStyle/>
          <a:p>
            <a:r>
              <a:rPr lang="en-US" sz="2000" b="1" dirty="0"/>
              <a:t>Centralized external data will increase the availability of data which will reduce…</a:t>
            </a:r>
          </a:p>
          <a:p>
            <a:pPr marL="457149" lvl="1" indent="-285750">
              <a:buFont typeface="Arial" panose="020B0604020202020204" pitchFamily="34" charset="0"/>
              <a:buChar char="•"/>
            </a:pPr>
            <a:r>
              <a:rPr lang="en-US" sz="1600" dirty="0"/>
              <a:t>our dependency on nonstandard supplemental data (HEDIS HUB/DataLink QAM) – In 2020, 151,000 medical records were abstracted, audited and entered into applications to address data gaps</a:t>
            </a:r>
          </a:p>
          <a:p>
            <a:pPr lvl="1" indent="0">
              <a:buNone/>
            </a:pPr>
            <a:endParaRPr lang="en-US" sz="1600" dirty="0"/>
          </a:p>
          <a:p>
            <a:pPr marL="799946" lvl="3" indent="-285750">
              <a:buFont typeface="Arial" panose="020B0604020202020204" pitchFamily="34" charset="0"/>
              <a:buChar char="•"/>
            </a:pPr>
            <a:r>
              <a:rPr lang="en-US" sz="1600" dirty="0"/>
              <a:t>If we minimize the number of nonstandard records needed we’ll have fewer quality reviews (internal audits) and less project risk</a:t>
            </a:r>
          </a:p>
          <a:p>
            <a:pPr lvl="3" indent="0">
              <a:buNone/>
            </a:pPr>
            <a:endParaRPr lang="en-US" sz="1600" dirty="0"/>
          </a:p>
          <a:p>
            <a:pPr marL="457149" lvl="1" indent="-285750">
              <a:buFont typeface="Arial" panose="020B0604020202020204" pitchFamily="34" charset="0"/>
              <a:buChar char="•"/>
            </a:pPr>
            <a:r>
              <a:rPr lang="en-US" sz="1600" dirty="0"/>
              <a:t>the cost of doing business with vendors (EMR, Data aggregators). EMR vendors (i.e. eCW) charge $10-15/member for every data file. By centralizing our data we’re ensuring that we only pay for what we need</a:t>
            </a:r>
          </a:p>
          <a:p>
            <a:pPr lvl="1" indent="0">
              <a:buNone/>
            </a:pPr>
            <a:endParaRPr lang="en-US" sz="1600" dirty="0"/>
          </a:p>
          <a:p>
            <a:pPr marL="457149" lvl="1" indent="-285750">
              <a:buFont typeface="Arial" panose="020B0604020202020204" pitchFamily="34" charset="0"/>
              <a:buChar char="•"/>
            </a:pPr>
            <a:r>
              <a:rPr lang="en-US" sz="1600" dirty="0"/>
              <a:t>the redundant data ingestion that exists today. One team ingests external data and saves it in a data store. Another team wants to use the data so they copy and move the files to another location so it can be transformed and ingested into the warehouse. These duplicate data process that exist today are very costly and inefficient,</a:t>
            </a:r>
          </a:p>
          <a:p>
            <a:pPr marL="457149" lvl="1" indent="-285750">
              <a:buFont typeface="Arial" panose="020B0604020202020204" pitchFamily="34" charset="0"/>
              <a:buChar char="•"/>
            </a:pPr>
            <a:endParaRPr lang="en-US" dirty="0"/>
          </a:p>
          <a:p>
            <a:pPr marL="342900" indent="-342900">
              <a:buFont typeface="Arial" panose="020B0604020202020204" pitchFamily="34" charset="0"/>
              <a:buChar char="•"/>
            </a:pPr>
            <a:endParaRPr lang="en-US" sz="1600"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4" name="TextBox 3">
            <a:extLst>
              <a:ext uri="{FF2B5EF4-FFF2-40B4-BE49-F238E27FC236}">
                <a16:creationId xmlns:a16="http://schemas.microsoft.com/office/drawing/2014/main" id="{D0E2A4DC-25F9-40B8-B82F-5A3015B15260}"/>
              </a:ext>
            </a:extLst>
          </p:cNvPr>
          <p:cNvSpPr txBox="1"/>
          <p:nvPr/>
        </p:nvSpPr>
        <p:spPr>
          <a:xfrm>
            <a:off x="884583" y="6659217"/>
            <a:ext cx="4721087" cy="157685"/>
          </a:xfrm>
          <a:prstGeom prst="rect">
            <a:avLst/>
          </a:prstGeom>
          <a:noFill/>
        </p:spPr>
        <p:txBody>
          <a:bodyPr wrap="square" lIns="0" tIns="0" rIns="0" bIns="0" rtlCol="0">
            <a:spAutoFit/>
          </a:bodyPr>
          <a:lstStyle/>
          <a:p>
            <a:r>
              <a:rPr lang="en-US" sz="1000" dirty="0">
                <a:solidFill>
                  <a:schemeClr val="tx2"/>
                </a:solidFill>
              </a:rPr>
              <a:t>*Created and provided by of Kim Strand </a:t>
            </a:r>
          </a:p>
        </p:txBody>
      </p:sp>
    </p:spTree>
    <p:extLst>
      <p:ext uri="{BB962C8B-B14F-4D97-AF65-F5344CB8AC3E}">
        <p14:creationId xmlns:p14="http://schemas.microsoft.com/office/powerpoint/2010/main" val="17686751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94713-F59B-4DC8-8769-45519439120C}"/>
              </a:ext>
            </a:extLst>
          </p:cNvPr>
          <p:cNvSpPr>
            <a:spLocks noGrp="1"/>
          </p:cNvSpPr>
          <p:nvPr>
            <p:ph type="title"/>
          </p:nvPr>
        </p:nvSpPr>
        <p:spPr/>
        <p:txBody>
          <a:bodyPr/>
          <a:lstStyle/>
          <a:p>
            <a:r>
              <a:rPr lang="en-US" dirty="0"/>
              <a:t>Estimated Savings Calculation Benefit </a:t>
            </a:r>
          </a:p>
        </p:txBody>
      </p:sp>
      <p:sp>
        <p:nvSpPr>
          <p:cNvPr id="3" name="Content Placeholder 2">
            <a:extLst>
              <a:ext uri="{FF2B5EF4-FFF2-40B4-BE49-F238E27FC236}">
                <a16:creationId xmlns:a16="http://schemas.microsoft.com/office/drawing/2014/main" id="{384271D1-284E-42C0-A1FC-64F24F41D3A5}"/>
              </a:ext>
            </a:extLst>
          </p:cNvPr>
          <p:cNvSpPr>
            <a:spLocks noGrp="1"/>
          </p:cNvSpPr>
          <p:nvPr>
            <p:ph idx="1"/>
          </p:nvPr>
        </p:nvSpPr>
        <p:spPr>
          <a:xfrm>
            <a:off x="557929" y="1074419"/>
            <a:ext cx="10902551" cy="5386016"/>
          </a:xfrm>
        </p:spPr>
        <p:txBody>
          <a:bodyPr/>
          <a:lstStyle/>
          <a:p>
            <a:r>
              <a:rPr lang="en-US" dirty="0"/>
              <a:t>Medical Records Purchase: 3M</a:t>
            </a:r>
            <a:r>
              <a:rPr lang="en-US" b="0" dirty="0"/>
              <a:t> medical records annually with many requests requiring payment</a:t>
            </a:r>
          </a:p>
          <a:p>
            <a:pPr lvl="0"/>
            <a:r>
              <a:rPr lang="en-US" dirty="0"/>
              <a:t>Purchase Cost: </a:t>
            </a:r>
            <a:r>
              <a:rPr lang="en-US" b="0" dirty="0"/>
              <a:t>10-$30/record = ~</a:t>
            </a:r>
            <a:r>
              <a:rPr lang="en-US" dirty="0"/>
              <a:t>$20 avg</a:t>
            </a:r>
          </a:p>
          <a:p>
            <a:r>
              <a:rPr lang="en-US" i="1" dirty="0"/>
              <a:t>Volume Analysis for Duplicates in supplemental data:</a:t>
            </a:r>
            <a:endParaRPr lang="en-US" sz="1600" dirty="0"/>
          </a:p>
          <a:p>
            <a:pPr lvl="0"/>
            <a:endParaRPr lang="en-US" dirty="0"/>
          </a:p>
          <a:p>
            <a:pPr lvl="0"/>
            <a:endParaRPr lang="en-US" dirty="0"/>
          </a:p>
          <a:p>
            <a:endParaRPr lang="en-US" dirty="0"/>
          </a:p>
          <a:p>
            <a:r>
              <a:rPr lang="en-US" b="0" dirty="0"/>
              <a:t>If we intake 3M EMRs annually, with an average cost per record of $20 and 40% duplicates of </a:t>
            </a:r>
            <a:r>
              <a:rPr lang="en-US" dirty="0"/>
              <a:t>24M: </a:t>
            </a:r>
          </a:p>
          <a:p>
            <a:r>
              <a:rPr lang="en-US" dirty="0"/>
              <a:t>		Calculation: </a:t>
            </a:r>
            <a:r>
              <a:rPr lang="en-US" b="0" dirty="0"/>
              <a:t>3M x $20 x 40% </a:t>
            </a:r>
            <a:r>
              <a:rPr lang="en-US" dirty="0"/>
              <a:t>= </a:t>
            </a:r>
            <a:r>
              <a:rPr lang="en-US" dirty="0">
                <a:highlight>
                  <a:srgbClr val="FFFF00"/>
                </a:highlight>
              </a:rPr>
              <a:t>24M</a:t>
            </a:r>
          </a:p>
          <a:p>
            <a:endParaRPr lang="en-US" sz="1400" dirty="0"/>
          </a:p>
          <a:p>
            <a:r>
              <a:rPr lang="en-US" sz="1400" dirty="0"/>
              <a:t>Note</a:t>
            </a:r>
            <a:r>
              <a:rPr lang="en-US" sz="1400" b="0" dirty="0"/>
              <a:t>: please note that this approximation is highly conservative as it only includes the cost of purchase, and not any baseline support / labor cost we incur for ingesting the files. All baseline support constitute an additional expense incurred not included in the calculation. Also, the calculation only takes Medical Claims into account since we couldn’t get any costing info for Pharmacy Claims or External Lab Results</a:t>
            </a:r>
          </a:p>
        </p:txBody>
      </p:sp>
      <p:graphicFrame>
        <p:nvGraphicFramePr>
          <p:cNvPr id="6" name="Table 5">
            <a:extLst>
              <a:ext uri="{FF2B5EF4-FFF2-40B4-BE49-F238E27FC236}">
                <a16:creationId xmlns:a16="http://schemas.microsoft.com/office/drawing/2014/main" id="{D3664D7F-0A45-46CB-8FED-4E8FFE29E40A}"/>
              </a:ext>
            </a:extLst>
          </p:cNvPr>
          <p:cNvGraphicFramePr>
            <a:graphicFrameLocks noGrp="1"/>
          </p:cNvGraphicFramePr>
          <p:nvPr>
            <p:extLst>
              <p:ext uri="{D42A27DB-BD31-4B8C-83A1-F6EECF244321}">
                <p14:modId xmlns:p14="http://schemas.microsoft.com/office/powerpoint/2010/main" val="1375658693"/>
              </p:ext>
            </p:extLst>
          </p:nvPr>
        </p:nvGraphicFramePr>
        <p:xfrm>
          <a:off x="1502809" y="2392680"/>
          <a:ext cx="6908800" cy="1373505"/>
        </p:xfrm>
        <a:graphic>
          <a:graphicData uri="http://schemas.openxmlformats.org/drawingml/2006/table">
            <a:tbl>
              <a:tblPr firstRow="1" firstCol="1" bandRow="1">
                <a:tableStyleId>{5C22544A-7EE6-4342-B048-85BDC9FD1C3A}</a:tableStyleId>
              </a:tblPr>
              <a:tblGrid>
                <a:gridCol w="609600">
                  <a:extLst>
                    <a:ext uri="{9D8B030D-6E8A-4147-A177-3AD203B41FA5}">
                      <a16:colId xmlns:a16="http://schemas.microsoft.com/office/drawing/2014/main" val="3755342275"/>
                    </a:ext>
                  </a:extLst>
                </a:gridCol>
                <a:gridCol w="1536700">
                  <a:extLst>
                    <a:ext uri="{9D8B030D-6E8A-4147-A177-3AD203B41FA5}">
                      <a16:colId xmlns:a16="http://schemas.microsoft.com/office/drawing/2014/main" val="2725674364"/>
                    </a:ext>
                  </a:extLst>
                </a:gridCol>
                <a:gridCol w="1193800">
                  <a:extLst>
                    <a:ext uri="{9D8B030D-6E8A-4147-A177-3AD203B41FA5}">
                      <a16:colId xmlns:a16="http://schemas.microsoft.com/office/drawing/2014/main" val="1491231811"/>
                    </a:ext>
                  </a:extLst>
                </a:gridCol>
                <a:gridCol w="1689100">
                  <a:extLst>
                    <a:ext uri="{9D8B030D-6E8A-4147-A177-3AD203B41FA5}">
                      <a16:colId xmlns:a16="http://schemas.microsoft.com/office/drawing/2014/main" val="889736891"/>
                    </a:ext>
                  </a:extLst>
                </a:gridCol>
                <a:gridCol w="1879600">
                  <a:extLst>
                    <a:ext uri="{9D8B030D-6E8A-4147-A177-3AD203B41FA5}">
                      <a16:colId xmlns:a16="http://schemas.microsoft.com/office/drawing/2014/main" val="3856412337"/>
                    </a:ext>
                  </a:extLst>
                </a:gridCol>
              </a:tblGrid>
              <a:tr h="381000">
                <a:tc>
                  <a:txBody>
                    <a:bodyPr/>
                    <a:lstStyle/>
                    <a:p>
                      <a:pPr marL="0" marR="0">
                        <a:spcBef>
                          <a:spcPts val="0"/>
                        </a:spcBef>
                        <a:spcAft>
                          <a:spcPts val="0"/>
                        </a:spcAft>
                      </a:pPr>
                      <a:r>
                        <a:rPr lang="en-US" sz="1100">
                          <a:effectLst/>
                        </a:rPr>
                        <a:t>SL No</a:t>
                      </a:r>
                      <a:endParaRPr lang="en-US" sz="1100">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a:effectLst/>
                        </a:rPr>
                        <a:t>Supplemental Data Table</a:t>
                      </a:r>
                      <a:endParaRPr lang="en-US" sz="1100">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dirty="0">
                          <a:effectLst/>
                        </a:rPr>
                        <a:t>Total table volume</a:t>
                      </a:r>
                      <a:endParaRPr lang="en-US" sz="1100" dirty="0">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a:effectLst/>
                        </a:rPr>
                        <a:t>Volume of Duplicate Event records </a:t>
                      </a:r>
                      <a:endParaRPr lang="en-US" sz="1100">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dirty="0">
                          <a:effectLst/>
                        </a:rPr>
                        <a:t>Percentage of total volume having duplicate events</a:t>
                      </a:r>
                      <a:endParaRPr lang="en-US" sz="11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437323589"/>
                  </a:ext>
                </a:extLst>
              </a:tr>
              <a:tr h="190500">
                <a:tc>
                  <a:txBody>
                    <a:bodyPr/>
                    <a:lstStyle/>
                    <a:p>
                      <a:pPr marL="0" marR="0" algn="r">
                        <a:spcBef>
                          <a:spcPts val="0"/>
                        </a:spcBef>
                        <a:spcAft>
                          <a:spcPts val="0"/>
                        </a:spcAft>
                      </a:pPr>
                      <a:r>
                        <a:rPr lang="en-US" sz="1100">
                          <a:effectLst/>
                        </a:rPr>
                        <a:t>1</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spcBef>
                          <a:spcPts val="0"/>
                        </a:spcBef>
                        <a:spcAft>
                          <a:spcPts val="0"/>
                        </a:spcAft>
                      </a:pPr>
                      <a:r>
                        <a:rPr lang="en-US" sz="1100" b="1" dirty="0">
                          <a:effectLst/>
                        </a:rPr>
                        <a:t>External Medical Claim</a:t>
                      </a:r>
                      <a:endParaRPr lang="en-US" sz="1100" b="1"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r">
                        <a:spcBef>
                          <a:spcPts val="0"/>
                        </a:spcBef>
                        <a:spcAft>
                          <a:spcPts val="0"/>
                        </a:spcAft>
                      </a:pPr>
                      <a:r>
                        <a:rPr lang="en-US" sz="1100" dirty="0">
                          <a:effectLst/>
                        </a:rPr>
                        <a:t>1,095,301,079</a:t>
                      </a: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r">
                        <a:spcBef>
                          <a:spcPts val="0"/>
                        </a:spcBef>
                        <a:spcAft>
                          <a:spcPts val="0"/>
                        </a:spcAft>
                      </a:pPr>
                      <a:r>
                        <a:rPr lang="en-US" sz="1100" dirty="0">
                          <a:effectLst/>
                        </a:rPr>
                        <a:t>479,464,948</a:t>
                      </a: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r">
                        <a:spcBef>
                          <a:spcPts val="0"/>
                        </a:spcBef>
                        <a:spcAft>
                          <a:spcPts val="0"/>
                        </a:spcAft>
                      </a:pPr>
                      <a:r>
                        <a:rPr lang="en-US" sz="1100" b="1" dirty="0">
                          <a:effectLst/>
                        </a:rPr>
                        <a:t>43.78</a:t>
                      </a:r>
                      <a:endParaRPr lang="en-US" sz="1100" b="1"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889351417"/>
                  </a:ext>
                </a:extLst>
              </a:tr>
              <a:tr h="190500">
                <a:tc>
                  <a:txBody>
                    <a:bodyPr/>
                    <a:lstStyle/>
                    <a:p>
                      <a:pPr marL="0" marR="0" algn="r">
                        <a:spcBef>
                          <a:spcPts val="0"/>
                        </a:spcBef>
                        <a:spcAft>
                          <a:spcPts val="0"/>
                        </a:spcAft>
                      </a:pPr>
                      <a:r>
                        <a:rPr lang="en-US" sz="1100">
                          <a:effectLst/>
                        </a:rPr>
                        <a:t>2</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spcBef>
                          <a:spcPts val="0"/>
                        </a:spcBef>
                        <a:spcAft>
                          <a:spcPts val="0"/>
                        </a:spcAft>
                      </a:pPr>
                      <a:r>
                        <a:rPr lang="en-US" sz="1100">
                          <a:effectLst/>
                        </a:rPr>
                        <a:t>External Pharmacy Claim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r">
                        <a:spcBef>
                          <a:spcPts val="0"/>
                        </a:spcBef>
                        <a:spcAft>
                          <a:spcPts val="0"/>
                        </a:spcAft>
                      </a:pPr>
                      <a:r>
                        <a:rPr lang="en-US" sz="1100" dirty="0">
                          <a:effectLst/>
                        </a:rPr>
                        <a:t>1,167,311,769</a:t>
                      </a: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r">
                        <a:spcBef>
                          <a:spcPts val="0"/>
                        </a:spcBef>
                        <a:spcAft>
                          <a:spcPts val="0"/>
                        </a:spcAft>
                      </a:pPr>
                      <a:r>
                        <a:rPr lang="en-US" sz="1100" dirty="0">
                          <a:effectLst/>
                        </a:rPr>
                        <a:t>1,167,311,769</a:t>
                      </a: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r">
                        <a:spcBef>
                          <a:spcPts val="0"/>
                        </a:spcBef>
                        <a:spcAft>
                          <a:spcPts val="0"/>
                        </a:spcAft>
                      </a:pPr>
                      <a:r>
                        <a:rPr lang="en-US" sz="1100">
                          <a:effectLst/>
                        </a:rPr>
                        <a:t>100</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633546033"/>
                  </a:ext>
                </a:extLst>
              </a:tr>
              <a:tr h="200025">
                <a:tc>
                  <a:txBody>
                    <a:bodyPr/>
                    <a:lstStyle/>
                    <a:p>
                      <a:pPr marL="0" marR="0" algn="r">
                        <a:spcBef>
                          <a:spcPts val="0"/>
                        </a:spcBef>
                        <a:spcAft>
                          <a:spcPts val="0"/>
                        </a:spcAft>
                      </a:pPr>
                      <a:r>
                        <a:rPr lang="en-US" sz="1100">
                          <a:effectLst/>
                        </a:rPr>
                        <a:t>3</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spcBef>
                          <a:spcPts val="0"/>
                        </a:spcBef>
                        <a:spcAft>
                          <a:spcPts val="0"/>
                        </a:spcAft>
                      </a:pPr>
                      <a:r>
                        <a:rPr lang="en-US" sz="1100">
                          <a:effectLst/>
                        </a:rPr>
                        <a:t>External Lab resul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r">
                        <a:spcBef>
                          <a:spcPts val="0"/>
                        </a:spcBef>
                        <a:spcAft>
                          <a:spcPts val="0"/>
                        </a:spcAft>
                      </a:pPr>
                      <a:r>
                        <a:rPr lang="en-US" sz="1100" dirty="0">
                          <a:effectLst/>
                        </a:rPr>
                        <a:t>124,837,579</a:t>
                      </a: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r">
                        <a:spcBef>
                          <a:spcPts val="0"/>
                        </a:spcBef>
                        <a:spcAft>
                          <a:spcPts val="0"/>
                        </a:spcAft>
                      </a:pPr>
                      <a:r>
                        <a:rPr lang="en-US" sz="1100" dirty="0">
                          <a:effectLst/>
                        </a:rPr>
                        <a:t>213,548,770</a:t>
                      </a: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r">
                        <a:spcBef>
                          <a:spcPts val="0"/>
                        </a:spcBef>
                        <a:spcAft>
                          <a:spcPts val="0"/>
                        </a:spcAft>
                      </a:pPr>
                      <a:r>
                        <a:rPr lang="en-US" sz="1100" dirty="0">
                          <a:effectLst/>
                        </a:rPr>
                        <a:t>58.45</a:t>
                      </a:r>
                      <a:endParaRPr lang="en-US"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119497275"/>
                  </a:ext>
                </a:extLst>
              </a:tr>
            </a:tbl>
          </a:graphicData>
        </a:graphic>
      </p:graphicFrame>
    </p:spTree>
    <p:extLst>
      <p:ext uri="{BB962C8B-B14F-4D97-AF65-F5344CB8AC3E}">
        <p14:creationId xmlns:p14="http://schemas.microsoft.com/office/powerpoint/2010/main" val="26879535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85547-98E8-45E5-B7CD-FF0E4583064A}"/>
              </a:ext>
            </a:extLst>
          </p:cNvPr>
          <p:cNvSpPr>
            <a:spLocks noGrp="1"/>
          </p:cNvSpPr>
          <p:nvPr>
            <p:ph type="title"/>
          </p:nvPr>
        </p:nvSpPr>
        <p:spPr/>
        <p:txBody>
          <a:bodyPr/>
          <a:lstStyle/>
          <a:p>
            <a:r>
              <a:rPr lang="en-US" dirty="0"/>
              <a:t>Use Case 1 – Medical Records Sample</a:t>
            </a:r>
          </a:p>
        </p:txBody>
      </p:sp>
      <p:graphicFrame>
        <p:nvGraphicFramePr>
          <p:cNvPr id="4" name="Table 3">
            <a:extLst>
              <a:ext uri="{FF2B5EF4-FFF2-40B4-BE49-F238E27FC236}">
                <a16:creationId xmlns:a16="http://schemas.microsoft.com/office/drawing/2014/main" id="{EFE116FC-4BF9-4DAF-B1E7-29701B258F6F}"/>
              </a:ext>
            </a:extLst>
          </p:cNvPr>
          <p:cNvGraphicFramePr>
            <a:graphicFrameLocks noGrp="1"/>
          </p:cNvGraphicFramePr>
          <p:nvPr>
            <p:extLst>
              <p:ext uri="{D42A27DB-BD31-4B8C-83A1-F6EECF244321}">
                <p14:modId xmlns:p14="http://schemas.microsoft.com/office/powerpoint/2010/main" val="1221332964"/>
              </p:ext>
            </p:extLst>
          </p:nvPr>
        </p:nvGraphicFramePr>
        <p:xfrm>
          <a:off x="427384" y="1243583"/>
          <a:ext cx="11420061" cy="4879463"/>
        </p:xfrm>
        <a:graphic>
          <a:graphicData uri="http://schemas.openxmlformats.org/drawingml/2006/table">
            <a:tbl>
              <a:tblPr>
                <a:tableStyleId>{5C22544A-7EE6-4342-B048-85BDC9FD1C3A}</a:tableStyleId>
              </a:tblPr>
              <a:tblGrid>
                <a:gridCol w="1126589">
                  <a:extLst>
                    <a:ext uri="{9D8B030D-6E8A-4147-A177-3AD203B41FA5}">
                      <a16:colId xmlns:a16="http://schemas.microsoft.com/office/drawing/2014/main" val="1227279460"/>
                    </a:ext>
                  </a:extLst>
                </a:gridCol>
                <a:gridCol w="541031">
                  <a:extLst>
                    <a:ext uri="{9D8B030D-6E8A-4147-A177-3AD203B41FA5}">
                      <a16:colId xmlns:a16="http://schemas.microsoft.com/office/drawing/2014/main" val="2399075830"/>
                    </a:ext>
                  </a:extLst>
                </a:gridCol>
                <a:gridCol w="763441">
                  <a:extLst>
                    <a:ext uri="{9D8B030D-6E8A-4147-A177-3AD203B41FA5}">
                      <a16:colId xmlns:a16="http://schemas.microsoft.com/office/drawing/2014/main" val="1417433796"/>
                    </a:ext>
                  </a:extLst>
                </a:gridCol>
                <a:gridCol w="1126589">
                  <a:extLst>
                    <a:ext uri="{9D8B030D-6E8A-4147-A177-3AD203B41FA5}">
                      <a16:colId xmlns:a16="http://schemas.microsoft.com/office/drawing/2014/main" val="1783811449"/>
                    </a:ext>
                  </a:extLst>
                </a:gridCol>
                <a:gridCol w="664096">
                  <a:extLst>
                    <a:ext uri="{9D8B030D-6E8A-4147-A177-3AD203B41FA5}">
                      <a16:colId xmlns:a16="http://schemas.microsoft.com/office/drawing/2014/main" val="116099224"/>
                    </a:ext>
                  </a:extLst>
                </a:gridCol>
                <a:gridCol w="569224">
                  <a:extLst>
                    <a:ext uri="{9D8B030D-6E8A-4147-A177-3AD203B41FA5}">
                      <a16:colId xmlns:a16="http://schemas.microsoft.com/office/drawing/2014/main" val="3239876319"/>
                    </a:ext>
                  </a:extLst>
                </a:gridCol>
                <a:gridCol w="707248">
                  <a:extLst>
                    <a:ext uri="{9D8B030D-6E8A-4147-A177-3AD203B41FA5}">
                      <a16:colId xmlns:a16="http://schemas.microsoft.com/office/drawing/2014/main" val="3761052173"/>
                    </a:ext>
                  </a:extLst>
                </a:gridCol>
                <a:gridCol w="564650">
                  <a:extLst>
                    <a:ext uri="{9D8B030D-6E8A-4147-A177-3AD203B41FA5}">
                      <a16:colId xmlns:a16="http://schemas.microsoft.com/office/drawing/2014/main" val="3446180879"/>
                    </a:ext>
                  </a:extLst>
                </a:gridCol>
                <a:gridCol w="1003783">
                  <a:extLst>
                    <a:ext uri="{9D8B030D-6E8A-4147-A177-3AD203B41FA5}">
                      <a16:colId xmlns:a16="http://schemas.microsoft.com/office/drawing/2014/main" val="957635246"/>
                    </a:ext>
                  </a:extLst>
                </a:gridCol>
                <a:gridCol w="1113252">
                  <a:extLst>
                    <a:ext uri="{9D8B030D-6E8A-4147-A177-3AD203B41FA5}">
                      <a16:colId xmlns:a16="http://schemas.microsoft.com/office/drawing/2014/main" val="2924443840"/>
                    </a:ext>
                  </a:extLst>
                </a:gridCol>
                <a:gridCol w="924339">
                  <a:extLst>
                    <a:ext uri="{9D8B030D-6E8A-4147-A177-3AD203B41FA5}">
                      <a16:colId xmlns:a16="http://schemas.microsoft.com/office/drawing/2014/main" val="902183206"/>
                    </a:ext>
                  </a:extLst>
                </a:gridCol>
                <a:gridCol w="892758">
                  <a:extLst>
                    <a:ext uri="{9D8B030D-6E8A-4147-A177-3AD203B41FA5}">
                      <a16:colId xmlns:a16="http://schemas.microsoft.com/office/drawing/2014/main" val="2600233405"/>
                    </a:ext>
                  </a:extLst>
                </a:gridCol>
                <a:gridCol w="796894">
                  <a:extLst>
                    <a:ext uri="{9D8B030D-6E8A-4147-A177-3AD203B41FA5}">
                      <a16:colId xmlns:a16="http://schemas.microsoft.com/office/drawing/2014/main" val="510613595"/>
                    </a:ext>
                  </a:extLst>
                </a:gridCol>
                <a:gridCol w="626167">
                  <a:extLst>
                    <a:ext uri="{9D8B030D-6E8A-4147-A177-3AD203B41FA5}">
                      <a16:colId xmlns:a16="http://schemas.microsoft.com/office/drawing/2014/main" val="3019987658"/>
                    </a:ext>
                  </a:extLst>
                </a:gridCol>
              </a:tblGrid>
              <a:tr h="384994">
                <a:tc>
                  <a:txBody>
                    <a:bodyPr/>
                    <a:lstStyle/>
                    <a:p>
                      <a:pPr algn="l" fontAlgn="b"/>
                      <a:r>
                        <a:rPr lang="en-US" sz="1000" b="1" u="none" strike="noStrike" dirty="0">
                          <a:effectLst/>
                        </a:rPr>
                        <a:t>CLAIM_LINE_ID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FILE_ID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GROUP_</a:t>
                      </a:r>
                    </a:p>
                    <a:p>
                      <a:pPr algn="l" fontAlgn="b"/>
                      <a:r>
                        <a:rPr lang="en-US" sz="1000" b="1" u="none" strike="noStrike" dirty="0">
                          <a:effectLst/>
                        </a:rPr>
                        <a:t>NBR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PRCDR_</a:t>
                      </a:r>
                    </a:p>
                    <a:p>
                      <a:pPr algn="l" fontAlgn="b"/>
                      <a:r>
                        <a:rPr lang="en-US" sz="1000" b="1" u="none" strike="noStrike" dirty="0">
                          <a:effectLst/>
                        </a:rPr>
                        <a:t>CD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a:effectLst/>
                        </a:rPr>
                        <a:t>PRI_ICD9_DX_CD </a:t>
                      </a:r>
                      <a:endParaRPr lang="en-US" sz="1000" b="1" i="0" u="none" strike="noStrike">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RECEIVED_DT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SRC_BILLED_</a:t>
                      </a:r>
                    </a:p>
                    <a:p>
                      <a:pPr algn="l" fontAlgn="b"/>
                      <a:r>
                        <a:rPr lang="en-US" sz="1000" b="1" u="none" strike="noStrike" dirty="0">
                          <a:effectLst/>
                        </a:rPr>
                        <a:t>AMT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SRC_CLM_ID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SRV_PRVDR_ID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SRV_START_</a:t>
                      </a:r>
                    </a:p>
                    <a:p>
                      <a:pPr algn="l" fontAlgn="b"/>
                      <a:r>
                        <a:rPr lang="en-US" sz="1000" b="1" u="none" strike="noStrike" dirty="0">
                          <a:effectLst/>
                        </a:rPr>
                        <a:t>DT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SRV_STOP_</a:t>
                      </a:r>
                    </a:p>
                    <a:p>
                      <a:pPr algn="l" fontAlgn="b"/>
                      <a:r>
                        <a:rPr lang="en-US" sz="1000" b="1" u="none" strike="noStrike" dirty="0">
                          <a:effectLst/>
                        </a:rPr>
                        <a:t>DT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ctr" fontAlgn="b"/>
                      <a:r>
                        <a:rPr lang="en-US" sz="1000" b="1" u="none" strike="noStrike" dirty="0">
                          <a:effectLst/>
                        </a:rPr>
                        <a:t>SUBGROUP_NBR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tc>
                  <a:txBody>
                    <a:bodyPr/>
                    <a:lstStyle/>
                    <a:p>
                      <a:pPr algn="l" fontAlgn="b"/>
                      <a:r>
                        <a:rPr lang="en-US" sz="1000" b="1" u="none" strike="noStrike" dirty="0">
                          <a:effectLst/>
                        </a:rPr>
                        <a:t>VENDOR_</a:t>
                      </a:r>
                    </a:p>
                    <a:p>
                      <a:pPr algn="l" fontAlgn="b"/>
                      <a:r>
                        <a:rPr lang="en-US" sz="1000" b="1" u="none" strike="noStrike" dirty="0">
                          <a:effectLst/>
                        </a:rPr>
                        <a:t>ID </a:t>
                      </a:r>
                      <a:endParaRPr lang="en-US" sz="1000" b="1" i="0" u="none" strike="noStrike" dirty="0">
                        <a:solidFill>
                          <a:srgbClr val="000000"/>
                        </a:solidFill>
                        <a:effectLst/>
                        <a:latin typeface="Calibri" panose="020F0502020204030204" pitchFamily="34" charset="0"/>
                      </a:endParaRPr>
                    </a:p>
                  </a:txBody>
                  <a:tcPr marL="5347" marR="5347" marT="5347" marB="0" anchor="b">
                    <a:solidFill>
                      <a:schemeClr val="accent3">
                        <a:lumMod val="40000"/>
                        <a:lumOff val="60000"/>
                      </a:schemeClr>
                    </a:solidFill>
                  </a:tcPr>
                </a:tc>
                <a:extLst>
                  <a:ext uri="{0D108BD9-81ED-4DB2-BD59-A6C34878D82A}">
                    <a16:rowId xmlns:a16="http://schemas.microsoft.com/office/drawing/2014/main" val="116681009"/>
                  </a:ext>
                </a:extLst>
              </a:tr>
              <a:tr h="128331">
                <a:tc>
                  <a:txBody>
                    <a:bodyPr/>
                    <a:lstStyle/>
                    <a:p>
                      <a:pPr algn="r" fontAlgn="b"/>
                      <a:r>
                        <a:rPr lang="en-US" sz="1000" u="none" strike="noStrike">
                          <a:effectLst/>
                        </a:rPr>
                        <a:t>38132960982011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13165</a:t>
                      </a:r>
                      <a:endParaRPr lang="en-US" sz="1000" b="0" i="0" u="none" strike="noStrike" dirty="0">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397623798"/>
                  </a:ext>
                </a:extLst>
              </a:tr>
              <a:tr h="128331">
                <a:tc>
                  <a:txBody>
                    <a:bodyPr/>
                    <a:lstStyle/>
                    <a:p>
                      <a:pPr algn="r" fontAlgn="b"/>
                      <a:r>
                        <a:rPr lang="en-US" sz="1000" u="none" strike="noStrike">
                          <a:effectLst/>
                        </a:rPr>
                        <a:t>381329609822859</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13165</a:t>
                      </a:r>
                      <a:endParaRPr lang="en-US" sz="1000" b="0" i="0" u="none" strike="noStrike" dirty="0">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650744390"/>
                  </a:ext>
                </a:extLst>
              </a:tr>
              <a:tr h="128331">
                <a:tc>
                  <a:txBody>
                    <a:bodyPr/>
                    <a:lstStyle/>
                    <a:p>
                      <a:pPr algn="r" fontAlgn="b"/>
                      <a:r>
                        <a:rPr lang="en-US" sz="1000" u="none" strike="noStrike">
                          <a:effectLst/>
                        </a:rPr>
                        <a:t>38132960982285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76340552"/>
                  </a:ext>
                </a:extLst>
              </a:tr>
              <a:tr h="128331">
                <a:tc>
                  <a:txBody>
                    <a:bodyPr/>
                    <a:lstStyle/>
                    <a:p>
                      <a:pPr algn="r" fontAlgn="b"/>
                      <a:r>
                        <a:rPr lang="en-US" sz="1000" u="none" strike="noStrike">
                          <a:effectLst/>
                        </a:rPr>
                        <a:t>381329609822852</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245135462"/>
                  </a:ext>
                </a:extLst>
              </a:tr>
              <a:tr h="128331">
                <a:tc>
                  <a:txBody>
                    <a:bodyPr/>
                    <a:lstStyle/>
                    <a:p>
                      <a:pPr algn="r" fontAlgn="b"/>
                      <a:r>
                        <a:rPr lang="en-US" sz="1000" u="none" strike="noStrike">
                          <a:effectLst/>
                        </a:rPr>
                        <a:t>381329609822009</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537905735"/>
                  </a:ext>
                </a:extLst>
              </a:tr>
              <a:tr h="128331">
                <a:tc>
                  <a:txBody>
                    <a:bodyPr/>
                    <a:lstStyle/>
                    <a:p>
                      <a:pPr algn="r" fontAlgn="b"/>
                      <a:r>
                        <a:rPr lang="en-US" sz="1000" u="none" strike="noStrike">
                          <a:effectLst/>
                        </a:rPr>
                        <a:t>381329609822641</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1307036609"/>
                  </a:ext>
                </a:extLst>
              </a:tr>
              <a:tr h="128331">
                <a:tc>
                  <a:txBody>
                    <a:bodyPr/>
                    <a:lstStyle/>
                    <a:p>
                      <a:pPr algn="r" fontAlgn="b"/>
                      <a:r>
                        <a:rPr lang="en-US" sz="1000" u="none" strike="noStrike">
                          <a:effectLst/>
                        </a:rPr>
                        <a:t>381329609821121</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dirty="0">
                          <a:effectLst/>
                        </a:rPr>
                        <a:t>19158513738925</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571016328"/>
                  </a:ext>
                </a:extLst>
              </a:tr>
              <a:tr h="128331">
                <a:tc>
                  <a:txBody>
                    <a:bodyPr/>
                    <a:lstStyle/>
                    <a:p>
                      <a:pPr algn="r" fontAlgn="b"/>
                      <a:r>
                        <a:rPr lang="en-US" sz="1000" u="none" strike="noStrike">
                          <a:effectLst/>
                        </a:rPr>
                        <a:t>381329609820026</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110180816"/>
                  </a:ext>
                </a:extLst>
              </a:tr>
              <a:tr h="128331">
                <a:tc>
                  <a:txBody>
                    <a:bodyPr/>
                    <a:lstStyle/>
                    <a:p>
                      <a:pPr algn="r" fontAlgn="b"/>
                      <a:r>
                        <a:rPr lang="en-US" sz="1000" u="none" strike="noStrike">
                          <a:effectLst/>
                        </a:rPr>
                        <a:t>38132960982128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2977071404"/>
                  </a:ext>
                </a:extLst>
              </a:tr>
              <a:tr h="128331">
                <a:tc>
                  <a:txBody>
                    <a:bodyPr/>
                    <a:lstStyle/>
                    <a:p>
                      <a:pPr algn="r" fontAlgn="b"/>
                      <a:r>
                        <a:rPr lang="en-US" sz="1000" u="none" strike="noStrike">
                          <a:effectLst/>
                        </a:rPr>
                        <a:t>38132960982096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035775143"/>
                  </a:ext>
                </a:extLst>
              </a:tr>
              <a:tr h="128331">
                <a:tc>
                  <a:txBody>
                    <a:bodyPr/>
                    <a:lstStyle/>
                    <a:p>
                      <a:pPr algn="r" fontAlgn="b"/>
                      <a:r>
                        <a:rPr lang="en-US" sz="1000" u="none" strike="noStrike">
                          <a:effectLst/>
                        </a:rPr>
                        <a:t>381329609822882</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360421495"/>
                  </a:ext>
                </a:extLst>
              </a:tr>
              <a:tr h="128331">
                <a:tc>
                  <a:txBody>
                    <a:bodyPr/>
                    <a:lstStyle/>
                    <a:p>
                      <a:pPr algn="r" fontAlgn="b"/>
                      <a:r>
                        <a:rPr lang="en-US" sz="1000" u="none" strike="noStrike">
                          <a:effectLst/>
                        </a:rPr>
                        <a:t>381329609822866</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779982468"/>
                  </a:ext>
                </a:extLst>
              </a:tr>
              <a:tr h="128331">
                <a:tc>
                  <a:txBody>
                    <a:bodyPr/>
                    <a:lstStyle/>
                    <a:p>
                      <a:pPr algn="r" fontAlgn="b"/>
                      <a:r>
                        <a:rPr lang="en-US" sz="1000" u="none" strike="noStrike">
                          <a:effectLst/>
                        </a:rPr>
                        <a:t>3813296098228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575854724"/>
                  </a:ext>
                </a:extLst>
              </a:tr>
              <a:tr h="128331">
                <a:tc>
                  <a:txBody>
                    <a:bodyPr/>
                    <a:lstStyle/>
                    <a:p>
                      <a:pPr algn="r" fontAlgn="b"/>
                      <a:r>
                        <a:rPr lang="en-US" sz="1000" u="none" strike="noStrike">
                          <a:effectLst/>
                        </a:rPr>
                        <a:t>38132960982013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2972435006"/>
                  </a:ext>
                </a:extLst>
              </a:tr>
              <a:tr h="128331">
                <a:tc>
                  <a:txBody>
                    <a:bodyPr/>
                    <a:lstStyle/>
                    <a:p>
                      <a:pPr algn="r" fontAlgn="b"/>
                      <a:r>
                        <a:rPr lang="en-US" sz="1000" u="none" strike="noStrike">
                          <a:effectLst/>
                        </a:rPr>
                        <a:t>381329609820119</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495589841"/>
                  </a:ext>
                </a:extLst>
              </a:tr>
              <a:tr h="128331">
                <a:tc>
                  <a:txBody>
                    <a:bodyPr/>
                    <a:lstStyle/>
                    <a:p>
                      <a:pPr algn="r" fontAlgn="b"/>
                      <a:r>
                        <a:rPr lang="en-US" sz="1000" u="none" strike="noStrike">
                          <a:effectLst/>
                        </a:rPr>
                        <a:t>381329609820634</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953939132"/>
                  </a:ext>
                </a:extLst>
              </a:tr>
              <a:tr h="128331">
                <a:tc>
                  <a:txBody>
                    <a:bodyPr/>
                    <a:lstStyle/>
                    <a:p>
                      <a:pPr algn="r" fontAlgn="b"/>
                      <a:r>
                        <a:rPr lang="en-US" sz="1000" u="none" strike="noStrike">
                          <a:effectLst/>
                        </a:rPr>
                        <a:t>381329609821352</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2680532489"/>
                  </a:ext>
                </a:extLst>
              </a:tr>
              <a:tr h="128331">
                <a:tc>
                  <a:txBody>
                    <a:bodyPr/>
                    <a:lstStyle/>
                    <a:p>
                      <a:pPr algn="r" fontAlgn="b"/>
                      <a:r>
                        <a:rPr lang="en-US" sz="1000" u="none" strike="noStrike">
                          <a:effectLst/>
                        </a:rPr>
                        <a:t>381329609821306</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2069857081"/>
                  </a:ext>
                </a:extLst>
              </a:tr>
              <a:tr h="128331">
                <a:tc>
                  <a:txBody>
                    <a:bodyPr/>
                    <a:lstStyle/>
                    <a:p>
                      <a:pPr algn="r" fontAlgn="b"/>
                      <a:r>
                        <a:rPr lang="en-US" sz="1000" u="none" strike="noStrike">
                          <a:effectLst/>
                        </a:rPr>
                        <a:t>381329609822479</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633778468"/>
                  </a:ext>
                </a:extLst>
              </a:tr>
              <a:tr h="128331">
                <a:tc>
                  <a:txBody>
                    <a:bodyPr/>
                    <a:lstStyle/>
                    <a:p>
                      <a:pPr algn="r" fontAlgn="b"/>
                      <a:r>
                        <a:rPr lang="en-US" sz="1000" u="none" strike="noStrike">
                          <a:effectLst/>
                        </a:rPr>
                        <a:t>381329609820421</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650670447"/>
                  </a:ext>
                </a:extLst>
              </a:tr>
              <a:tr h="128331">
                <a:tc>
                  <a:txBody>
                    <a:bodyPr/>
                    <a:lstStyle/>
                    <a:p>
                      <a:pPr algn="r" fontAlgn="b"/>
                      <a:r>
                        <a:rPr lang="en-US" sz="1000" u="none" strike="noStrike">
                          <a:effectLst/>
                        </a:rPr>
                        <a:t>38132960982182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2760141627"/>
                  </a:ext>
                </a:extLst>
              </a:tr>
              <a:tr h="128331">
                <a:tc>
                  <a:txBody>
                    <a:bodyPr/>
                    <a:lstStyle/>
                    <a:p>
                      <a:pPr algn="r" fontAlgn="b"/>
                      <a:r>
                        <a:rPr lang="en-US" sz="1000" u="none" strike="noStrike">
                          <a:effectLst/>
                        </a:rPr>
                        <a:t>381329609821822</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903315094"/>
                  </a:ext>
                </a:extLst>
              </a:tr>
              <a:tr h="128331">
                <a:tc>
                  <a:txBody>
                    <a:bodyPr/>
                    <a:lstStyle/>
                    <a:p>
                      <a:pPr algn="r" fontAlgn="b"/>
                      <a:r>
                        <a:rPr lang="en-US" sz="1000" u="none" strike="noStrike">
                          <a:effectLst/>
                        </a:rPr>
                        <a:t>381329609820144</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439689311"/>
                  </a:ext>
                </a:extLst>
              </a:tr>
              <a:tr h="128331">
                <a:tc>
                  <a:txBody>
                    <a:bodyPr/>
                    <a:lstStyle/>
                    <a:p>
                      <a:pPr algn="r" fontAlgn="b"/>
                      <a:r>
                        <a:rPr lang="en-US" sz="1000" u="none" strike="noStrike">
                          <a:effectLst/>
                        </a:rPr>
                        <a:t>38132960982197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2210557858"/>
                  </a:ext>
                </a:extLst>
              </a:tr>
              <a:tr h="128331">
                <a:tc>
                  <a:txBody>
                    <a:bodyPr/>
                    <a:lstStyle/>
                    <a:p>
                      <a:pPr algn="r" fontAlgn="b"/>
                      <a:r>
                        <a:rPr lang="en-US" sz="1000" u="none" strike="noStrike">
                          <a:effectLst/>
                        </a:rPr>
                        <a:t>381329609821896</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2852962747"/>
                  </a:ext>
                </a:extLst>
              </a:tr>
              <a:tr h="128331">
                <a:tc>
                  <a:txBody>
                    <a:bodyPr/>
                    <a:lstStyle/>
                    <a:p>
                      <a:pPr algn="r" fontAlgn="b"/>
                      <a:r>
                        <a:rPr lang="en-US" sz="1000" u="none" strike="noStrike">
                          <a:effectLst/>
                        </a:rPr>
                        <a:t>38132960982136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2280241314"/>
                  </a:ext>
                </a:extLst>
              </a:tr>
              <a:tr h="128331">
                <a:tc>
                  <a:txBody>
                    <a:bodyPr/>
                    <a:lstStyle/>
                    <a:p>
                      <a:pPr algn="r" fontAlgn="b"/>
                      <a:r>
                        <a:rPr lang="en-US" sz="1000" u="none" strike="noStrike">
                          <a:effectLst/>
                        </a:rPr>
                        <a:t>3813296098208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3165</a:t>
                      </a:r>
                      <a:endParaRPr lang="en-US" sz="1000" b="0" i="0" u="none" strike="noStrike">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2357092014"/>
                  </a:ext>
                </a:extLst>
              </a:tr>
              <a:tr h="128331">
                <a:tc>
                  <a:txBody>
                    <a:bodyPr/>
                    <a:lstStyle/>
                    <a:p>
                      <a:pPr algn="r" fontAlgn="b"/>
                      <a:r>
                        <a:rPr lang="en-US" sz="1000" u="none" strike="noStrike">
                          <a:effectLst/>
                        </a:rPr>
                        <a:t>381329609820757</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915851373892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99203</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3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8/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250</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l" fontAlgn="b"/>
                      <a:r>
                        <a:rPr lang="en-US" sz="1000" u="none" strike="noStrike">
                          <a:effectLst/>
                        </a:rPr>
                        <a:t>15893477190-00     </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150840398113765</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a:effectLst/>
                        </a:rPr>
                        <a:t>7/22/2008</a:t>
                      </a:r>
                      <a:endParaRPr lang="en-US" sz="1000" b="0" i="0" u="none" strike="noStrike">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9999999</a:t>
                      </a:r>
                      <a:endParaRPr lang="en-US" sz="1000" b="0" i="0" u="none" strike="noStrike" dirty="0">
                        <a:solidFill>
                          <a:srgbClr val="000000"/>
                        </a:solidFill>
                        <a:effectLst/>
                        <a:latin typeface="Calibri" panose="020F0502020204030204" pitchFamily="34" charset="0"/>
                      </a:endParaRPr>
                    </a:p>
                  </a:txBody>
                  <a:tcPr marL="5347" marR="5347" marT="5347" marB="0" anchor="b"/>
                </a:tc>
                <a:tc>
                  <a:txBody>
                    <a:bodyPr/>
                    <a:lstStyle/>
                    <a:p>
                      <a:pPr algn="r" fontAlgn="b"/>
                      <a:r>
                        <a:rPr lang="en-US" sz="1000" u="none" strike="noStrike" dirty="0">
                          <a:effectLst/>
                        </a:rPr>
                        <a:t>13165</a:t>
                      </a:r>
                      <a:endParaRPr lang="en-US" sz="1000" b="0" i="0" u="none" strike="noStrike" dirty="0">
                        <a:solidFill>
                          <a:srgbClr val="000000"/>
                        </a:solidFill>
                        <a:effectLst/>
                        <a:latin typeface="Calibri" panose="020F0502020204030204" pitchFamily="34" charset="0"/>
                      </a:endParaRPr>
                    </a:p>
                  </a:txBody>
                  <a:tcPr marL="5347" marR="5347" marT="5347" marB="0" anchor="b"/>
                </a:tc>
                <a:extLst>
                  <a:ext uri="{0D108BD9-81ED-4DB2-BD59-A6C34878D82A}">
                    <a16:rowId xmlns:a16="http://schemas.microsoft.com/office/drawing/2014/main" val="3912720033"/>
                  </a:ext>
                </a:extLst>
              </a:tr>
            </a:tbl>
          </a:graphicData>
        </a:graphic>
      </p:graphicFrame>
    </p:spTree>
    <p:extLst>
      <p:ext uri="{BB962C8B-B14F-4D97-AF65-F5344CB8AC3E}">
        <p14:creationId xmlns:p14="http://schemas.microsoft.com/office/powerpoint/2010/main" val="159236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EAB9A-4052-4EF4-B24B-BD317033D159}"/>
              </a:ext>
            </a:extLst>
          </p:cNvPr>
          <p:cNvSpPr>
            <a:spLocks noGrp="1"/>
          </p:cNvSpPr>
          <p:nvPr>
            <p:ph type="title"/>
          </p:nvPr>
        </p:nvSpPr>
        <p:spPr/>
        <p:txBody>
          <a:bodyPr/>
          <a:lstStyle/>
          <a:p>
            <a:r>
              <a:rPr lang="en-US" dirty="0"/>
              <a:t>Use Case 1 – External Data Index Fields</a:t>
            </a:r>
          </a:p>
        </p:txBody>
      </p:sp>
      <p:sp>
        <p:nvSpPr>
          <p:cNvPr id="3" name="Content Placeholder 2">
            <a:extLst>
              <a:ext uri="{FF2B5EF4-FFF2-40B4-BE49-F238E27FC236}">
                <a16:creationId xmlns:a16="http://schemas.microsoft.com/office/drawing/2014/main" id="{A2A7ACBE-BDCD-4F26-956E-BBAF98176ED7}"/>
              </a:ext>
            </a:extLst>
          </p:cNvPr>
          <p:cNvSpPr>
            <a:spLocks noGrp="1"/>
          </p:cNvSpPr>
          <p:nvPr>
            <p:ph sz="half" idx="1"/>
          </p:nvPr>
        </p:nvSpPr>
        <p:spPr>
          <a:xfrm>
            <a:off x="557929" y="1351718"/>
            <a:ext cx="5238478" cy="5204527"/>
          </a:xfrm>
        </p:spPr>
        <p:txBody>
          <a:bodyPr/>
          <a:lstStyle/>
          <a:p>
            <a:r>
              <a:rPr lang="en-US" dirty="0"/>
              <a:t>Medical Claim Business Key   </a:t>
            </a:r>
          </a:p>
          <a:p>
            <a:endParaRPr lang="en-US" dirty="0"/>
          </a:p>
          <a:p>
            <a:endParaRPr lang="en-US" dirty="0"/>
          </a:p>
        </p:txBody>
      </p:sp>
      <p:sp>
        <p:nvSpPr>
          <p:cNvPr id="4" name="Content Placeholder 3">
            <a:extLst>
              <a:ext uri="{FF2B5EF4-FFF2-40B4-BE49-F238E27FC236}">
                <a16:creationId xmlns:a16="http://schemas.microsoft.com/office/drawing/2014/main" id="{3391FEEF-F27B-41D9-B582-F93BB491DB23}"/>
              </a:ext>
            </a:extLst>
          </p:cNvPr>
          <p:cNvSpPr>
            <a:spLocks noGrp="1"/>
          </p:cNvSpPr>
          <p:nvPr>
            <p:ph sz="half" idx="10"/>
          </p:nvPr>
        </p:nvSpPr>
        <p:spPr>
          <a:xfrm>
            <a:off x="6453748" y="1351718"/>
            <a:ext cx="5238478" cy="5204527"/>
          </a:xfrm>
        </p:spPr>
        <p:txBody>
          <a:bodyPr/>
          <a:lstStyle/>
          <a:p>
            <a:r>
              <a:rPr lang="en-US" dirty="0"/>
              <a:t>External Data Index Fields</a:t>
            </a:r>
          </a:p>
          <a:p>
            <a:r>
              <a:rPr lang="en-US" sz="1400" dirty="0"/>
              <a:t>Use Case Specific Business Keys:</a:t>
            </a:r>
          </a:p>
          <a:p>
            <a:pPr marL="285750" indent="-285750">
              <a:buFont typeface="Arial" panose="020B0604020202020204" pitchFamily="34" charset="0"/>
              <a:buChar char="•"/>
            </a:pPr>
            <a:r>
              <a:rPr lang="en-US" sz="1400" dirty="0"/>
              <a:t>MEMBER_ID</a:t>
            </a:r>
          </a:p>
          <a:p>
            <a:pPr marL="285750" indent="-285750">
              <a:buFont typeface="Arial" panose="020B0604020202020204" pitchFamily="34" charset="0"/>
              <a:buChar char="•"/>
            </a:pPr>
            <a:r>
              <a:rPr lang="en-US" sz="1400" dirty="0"/>
              <a:t>SRV_START_DT</a:t>
            </a:r>
          </a:p>
          <a:p>
            <a:pPr marL="285750" indent="-285750">
              <a:buFont typeface="Arial" panose="020B0604020202020204" pitchFamily="34" charset="0"/>
              <a:buChar char="•"/>
            </a:pPr>
            <a:r>
              <a:rPr lang="en-US" sz="1400" dirty="0"/>
              <a:t>SRV_PRVDR_ID</a:t>
            </a:r>
          </a:p>
          <a:p>
            <a:pPr marL="285750" indent="-285750">
              <a:buFont typeface="Arial" panose="020B0604020202020204" pitchFamily="34" charset="0"/>
              <a:buChar char="•"/>
            </a:pPr>
            <a:r>
              <a:rPr lang="en-US" sz="1400" dirty="0"/>
              <a:t>REVENUE_CD</a:t>
            </a:r>
          </a:p>
          <a:p>
            <a:pPr marL="285750" indent="-285750">
              <a:buFont typeface="Arial" panose="020B0604020202020204" pitchFamily="34" charset="0"/>
              <a:buChar char="•"/>
            </a:pPr>
            <a:r>
              <a:rPr lang="en-US" sz="1400" dirty="0"/>
              <a:t>PRCDR_CD</a:t>
            </a:r>
          </a:p>
          <a:p>
            <a:r>
              <a:rPr lang="en-US" sz="1400" dirty="0"/>
              <a:t>In addition, we would store core, descriptive fields:</a:t>
            </a:r>
          </a:p>
          <a:p>
            <a:pPr marL="285750" indent="-285750">
              <a:buFont typeface="Arial" panose="020B0604020202020204" pitchFamily="34" charset="0"/>
              <a:buChar char="•"/>
            </a:pPr>
            <a:r>
              <a:rPr lang="en-US" sz="1400" dirty="0"/>
              <a:t>DATA_SOURCE</a:t>
            </a:r>
          </a:p>
          <a:p>
            <a:pPr marL="285750" indent="-285750">
              <a:buFont typeface="Arial" panose="020B0604020202020204" pitchFamily="34" charset="0"/>
              <a:buChar char="•"/>
            </a:pPr>
            <a:r>
              <a:rPr lang="en-US" sz="1400" dirty="0"/>
              <a:t>DISPOSITION</a:t>
            </a:r>
          </a:p>
          <a:p>
            <a:pPr marL="285750" indent="-285750">
              <a:buFont typeface="Arial" panose="020B0604020202020204" pitchFamily="34" charset="0"/>
              <a:buChar char="•"/>
            </a:pPr>
            <a:r>
              <a:rPr lang="en-US" sz="1400" dirty="0"/>
              <a:t>COMMENTS</a:t>
            </a:r>
          </a:p>
          <a:p>
            <a:endParaRPr lang="en-US" sz="1400" dirty="0"/>
          </a:p>
          <a:p>
            <a:endParaRPr lang="en-US" dirty="0"/>
          </a:p>
        </p:txBody>
      </p:sp>
      <p:graphicFrame>
        <p:nvGraphicFramePr>
          <p:cNvPr id="5" name="Table 4">
            <a:extLst>
              <a:ext uri="{FF2B5EF4-FFF2-40B4-BE49-F238E27FC236}">
                <a16:creationId xmlns:a16="http://schemas.microsoft.com/office/drawing/2014/main" id="{CFFC21C1-D8DC-44A8-8916-D41D38B0EE0C}"/>
              </a:ext>
            </a:extLst>
          </p:cNvPr>
          <p:cNvGraphicFramePr>
            <a:graphicFrameLocks noGrp="1"/>
          </p:cNvGraphicFramePr>
          <p:nvPr>
            <p:extLst>
              <p:ext uri="{D42A27DB-BD31-4B8C-83A1-F6EECF244321}">
                <p14:modId xmlns:p14="http://schemas.microsoft.com/office/powerpoint/2010/main" val="3168182252"/>
              </p:ext>
            </p:extLst>
          </p:nvPr>
        </p:nvGraphicFramePr>
        <p:xfrm>
          <a:off x="533400" y="1954527"/>
          <a:ext cx="5562600" cy="3086100"/>
        </p:xfrm>
        <a:graphic>
          <a:graphicData uri="http://schemas.openxmlformats.org/drawingml/2006/table">
            <a:tbl>
              <a:tblPr>
                <a:tableStyleId>{5C22544A-7EE6-4342-B048-85BDC9FD1C3A}</a:tableStyleId>
              </a:tblPr>
              <a:tblGrid>
                <a:gridCol w="1603513">
                  <a:extLst>
                    <a:ext uri="{9D8B030D-6E8A-4147-A177-3AD203B41FA5}">
                      <a16:colId xmlns:a16="http://schemas.microsoft.com/office/drawing/2014/main" val="4257973628"/>
                    </a:ext>
                  </a:extLst>
                </a:gridCol>
                <a:gridCol w="1073426">
                  <a:extLst>
                    <a:ext uri="{9D8B030D-6E8A-4147-A177-3AD203B41FA5}">
                      <a16:colId xmlns:a16="http://schemas.microsoft.com/office/drawing/2014/main" val="3225045240"/>
                    </a:ext>
                  </a:extLst>
                </a:gridCol>
                <a:gridCol w="1282148">
                  <a:extLst>
                    <a:ext uri="{9D8B030D-6E8A-4147-A177-3AD203B41FA5}">
                      <a16:colId xmlns:a16="http://schemas.microsoft.com/office/drawing/2014/main" val="3668110579"/>
                    </a:ext>
                  </a:extLst>
                </a:gridCol>
                <a:gridCol w="714513">
                  <a:extLst>
                    <a:ext uri="{9D8B030D-6E8A-4147-A177-3AD203B41FA5}">
                      <a16:colId xmlns:a16="http://schemas.microsoft.com/office/drawing/2014/main" val="1432485270"/>
                    </a:ext>
                  </a:extLst>
                </a:gridCol>
                <a:gridCol w="889000">
                  <a:extLst>
                    <a:ext uri="{9D8B030D-6E8A-4147-A177-3AD203B41FA5}">
                      <a16:colId xmlns:a16="http://schemas.microsoft.com/office/drawing/2014/main" val="2004532799"/>
                    </a:ext>
                  </a:extLst>
                </a:gridCol>
              </a:tblGrid>
              <a:tr h="182880">
                <a:tc>
                  <a:txBody>
                    <a:bodyPr/>
                    <a:lstStyle/>
                    <a:p>
                      <a:pPr algn="l" fontAlgn="b"/>
                      <a:r>
                        <a:rPr lang="en-US" sz="1100" u="none" strike="noStrike" dirty="0">
                          <a:effectLst/>
                        </a:rPr>
                        <a:t> </a:t>
                      </a:r>
                      <a:r>
                        <a:rPr lang="en-US" sz="1100" b="1" u="none" strike="noStrike" dirty="0">
                          <a:effectLst/>
                        </a:rPr>
                        <a:t>MEMBER_ID </a:t>
                      </a:r>
                      <a:r>
                        <a:rPr lang="en-US" sz="1100" u="none" strike="noStrike" dirty="0">
                          <a:effectLst/>
                        </a:rPr>
                        <a:t>         </a:t>
                      </a:r>
                      <a:endParaRPr lang="en-US" sz="1100" b="1" i="0" u="none" strike="noStrike" dirty="0">
                        <a:solidFill>
                          <a:srgbClr val="000000"/>
                        </a:solidFill>
                        <a:effectLst/>
                        <a:latin typeface="Calibri" panose="020F0502020204030204" pitchFamily="34" charset="0"/>
                      </a:endParaRPr>
                    </a:p>
                  </a:txBody>
                  <a:tcPr marL="7620" marR="7620" marT="7620" marB="0" anchor="b">
                    <a:solidFill>
                      <a:schemeClr val="accent3">
                        <a:lumMod val="40000"/>
                        <a:lumOff val="60000"/>
                      </a:schemeClr>
                    </a:solidFill>
                  </a:tcPr>
                </a:tc>
                <a:tc>
                  <a:txBody>
                    <a:bodyPr/>
                    <a:lstStyle/>
                    <a:p>
                      <a:pPr algn="l" fontAlgn="b"/>
                      <a:r>
                        <a:rPr lang="en-US" sz="1100" b="1" u="none" strike="noStrike" dirty="0">
                          <a:effectLst/>
                        </a:rPr>
                        <a:t>SRV_</a:t>
                      </a:r>
                    </a:p>
                    <a:p>
                      <a:pPr algn="l" fontAlgn="b"/>
                      <a:r>
                        <a:rPr lang="en-US" sz="1100" b="1" u="none" strike="noStrike" dirty="0">
                          <a:effectLst/>
                        </a:rPr>
                        <a:t>START_DT </a:t>
                      </a:r>
                      <a:endParaRPr lang="en-US" sz="1100" b="1" i="0" u="none" strike="noStrike" dirty="0">
                        <a:solidFill>
                          <a:srgbClr val="000000"/>
                        </a:solidFill>
                        <a:effectLst/>
                        <a:latin typeface="Calibri" panose="020F0502020204030204" pitchFamily="34" charset="0"/>
                      </a:endParaRPr>
                    </a:p>
                  </a:txBody>
                  <a:tcPr marL="7620" marR="7620" marT="7620" marB="0" anchor="b">
                    <a:solidFill>
                      <a:schemeClr val="accent3">
                        <a:lumMod val="40000"/>
                        <a:lumOff val="60000"/>
                      </a:schemeClr>
                    </a:solidFill>
                  </a:tcPr>
                </a:tc>
                <a:tc>
                  <a:txBody>
                    <a:bodyPr/>
                    <a:lstStyle/>
                    <a:p>
                      <a:pPr algn="l" fontAlgn="b"/>
                      <a:r>
                        <a:rPr lang="en-US" sz="1100" b="1" u="none" strike="noStrike" dirty="0">
                          <a:effectLst/>
                        </a:rPr>
                        <a:t>SRV_</a:t>
                      </a:r>
                    </a:p>
                    <a:p>
                      <a:pPr algn="l" fontAlgn="b"/>
                      <a:r>
                        <a:rPr lang="en-US" sz="1100" b="1" u="none" strike="noStrike" dirty="0">
                          <a:effectLst/>
                        </a:rPr>
                        <a:t>PRVDR_ID    </a:t>
                      </a:r>
                      <a:endParaRPr lang="en-US" sz="1100" b="1" i="0" u="none" strike="noStrike" dirty="0">
                        <a:solidFill>
                          <a:srgbClr val="000000"/>
                        </a:solidFill>
                        <a:effectLst/>
                        <a:latin typeface="Calibri" panose="020F0502020204030204" pitchFamily="34" charset="0"/>
                      </a:endParaRPr>
                    </a:p>
                  </a:txBody>
                  <a:tcPr marL="7620" marR="7620" marT="7620" marB="0" anchor="b">
                    <a:solidFill>
                      <a:schemeClr val="accent3">
                        <a:lumMod val="40000"/>
                        <a:lumOff val="60000"/>
                      </a:schemeClr>
                    </a:solidFill>
                  </a:tcPr>
                </a:tc>
                <a:tc>
                  <a:txBody>
                    <a:bodyPr/>
                    <a:lstStyle/>
                    <a:p>
                      <a:pPr algn="l" fontAlgn="b"/>
                      <a:r>
                        <a:rPr lang="en-US" sz="1100" b="1" u="none" strike="noStrike" dirty="0">
                          <a:effectLst/>
                        </a:rPr>
                        <a:t>REVENUE_CD </a:t>
                      </a:r>
                      <a:endParaRPr lang="en-US" sz="1100" b="1" i="0" u="none" strike="noStrike" dirty="0">
                        <a:solidFill>
                          <a:srgbClr val="000000"/>
                        </a:solidFill>
                        <a:effectLst/>
                        <a:latin typeface="Calibri" panose="020F0502020204030204" pitchFamily="34" charset="0"/>
                      </a:endParaRPr>
                    </a:p>
                  </a:txBody>
                  <a:tcPr marL="7620" marR="7620" marT="7620" marB="0" anchor="b">
                    <a:solidFill>
                      <a:schemeClr val="accent3">
                        <a:lumMod val="40000"/>
                        <a:lumOff val="60000"/>
                      </a:schemeClr>
                    </a:solidFill>
                  </a:tcPr>
                </a:tc>
                <a:tc>
                  <a:txBody>
                    <a:bodyPr/>
                    <a:lstStyle/>
                    <a:p>
                      <a:pPr algn="l" fontAlgn="b"/>
                      <a:r>
                        <a:rPr lang="en-US" sz="1100" b="1" u="none" strike="noStrike" dirty="0">
                          <a:effectLst/>
                        </a:rPr>
                        <a:t>PRCDR_CD </a:t>
                      </a:r>
                      <a:endParaRPr lang="en-US" sz="1100" b="1" i="0" u="none" strike="noStrike" dirty="0">
                        <a:solidFill>
                          <a:srgbClr val="000000"/>
                        </a:solidFill>
                        <a:effectLst/>
                        <a:latin typeface="Calibri" panose="020F0502020204030204" pitchFamily="34" charset="0"/>
                      </a:endParaRPr>
                    </a:p>
                  </a:txBody>
                  <a:tcPr marL="7620" marR="7620" marT="7620" marB="0" anchor="b">
                    <a:solidFill>
                      <a:schemeClr val="accent3">
                        <a:lumMod val="40000"/>
                        <a:lumOff val="60000"/>
                      </a:schemeClr>
                    </a:solidFill>
                  </a:tcPr>
                </a:tc>
                <a:extLst>
                  <a:ext uri="{0D108BD9-81ED-4DB2-BD59-A6C34878D82A}">
                    <a16:rowId xmlns:a16="http://schemas.microsoft.com/office/drawing/2014/main" val="3143443110"/>
                  </a:ext>
                </a:extLst>
              </a:tr>
              <a:tr h="182880">
                <a:tc>
                  <a:txBody>
                    <a:bodyPr/>
                    <a:lstStyle/>
                    <a:p>
                      <a:pPr algn="l" fontAlgn="b"/>
                      <a:r>
                        <a:rPr lang="en-US" sz="1100" u="none" strike="noStrike">
                          <a:effectLst/>
                        </a:rPr>
                        <a:t>191585137389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dirty="0">
                          <a:effectLst/>
                        </a:rPr>
                        <a:t>7/22/2008</a:t>
                      </a:r>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1508403981137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99203</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225192449"/>
                  </a:ext>
                </a:extLst>
              </a:tr>
              <a:tr h="182880">
                <a:tc>
                  <a:txBody>
                    <a:bodyPr/>
                    <a:lstStyle/>
                    <a:p>
                      <a:pPr algn="l" fontAlgn="b"/>
                      <a:r>
                        <a:rPr lang="en-US" sz="1100" u="none" strike="noStrike">
                          <a:effectLst/>
                        </a:rPr>
                        <a:t>690092066201259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10/13/2008</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556405818"/>
                  </a:ext>
                </a:extLst>
              </a:tr>
              <a:tr h="182880">
                <a:tc>
                  <a:txBody>
                    <a:bodyPr/>
                    <a:lstStyle/>
                    <a:p>
                      <a:pPr algn="l" fontAlgn="b"/>
                      <a:r>
                        <a:rPr lang="en-US" sz="1100" u="none" strike="noStrike">
                          <a:effectLst/>
                        </a:rPr>
                        <a:t>690092066201259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9/20/2008</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216715905"/>
                  </a:ext>
                </a:extLst>
              </a:tr>
              <a:tr h="182880">
                <a:tc>
                  <a:txBody>
                    <a:bodyPr/>
                    <a:lstStyle/>
                    <a:p>
                      <a:pPr algn="l" fontAlgn="b"/>
                      <a:r>
                        <a:rPr lang="en-US" sz="1100" u="none" strike="noStrike">
                          <a:effectLst/>
                        </a:rPr>
                        <a:t>36360501719434200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0001-01-01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52</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180752653"/>
                  </a:ext>
                </a:extLst>
              </a:tr>
              <a:tr h="182880">
                <a:tc>
                  <a:txBody>
                    <a:bodyPr/>
                    <a:lstStyle/>
                    <a:p>
                      <a:pPr algn="l" fontAlgn="b"/>
                      <a:r>
                        <a:rPr lang="en-US" sz="1100" u="none" strike="noStrike">
                          <a:effectLst/>
                        </a:rPr>
                        <a:t>1193141259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2/8/2007</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670078276"/>
                  </a:ext>
                </a:extLst>
              </a:tr>
              <a:tr h="182880">
                <a:tc>
                  <a:txBody>
                    <a:bodyPr/>
                    <a:lstStyle/>
                    <a:p>
                      <a:pPr algn="l" fontAlgn="b"/>
                      <a:r>
                        <a:rPr lang="en-US" sz="1100" u="none" strike="noStrike">
                          <a:effectLst/>
                        </a:rPr>
                        <a:t>690118941601259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7/3/2008</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189934239"/>
                  </a:ext>
                </a:extLst>
              </a:tr>
              <a:tr h="182880">
                <a:tc>
                  <a:txBody>
                    <a:bodyPr/>
                    <a:lstStyle/>
                    <a:p>
                      <a:pPr algn="l" fontAlgn="b"/>
                      <a:r>
                        <a:rPr lang="en-US" sz="1100" u="none" strike="noStrike">
                          <a:effectLst/>
                        </a:rPr>
                        <a:t>690029260601209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12/4/201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77271949"/>
                  </a:ext>
                </a:extLst>
              </a:tr>
              <a:tr h="182880">
                <a:tc>
                  <a:txBody>
                    <a:bodyPr/>
                    <a:lstStyle/>
                    <a:p>
                      <a:pPr algn="l" fontAlgn="b"/>
                      <a:r>
                        <a:rPr lang="en-US" sz="1100" u="none" strike="noStrike">
                          <a:effectLst/>
                        </a:rPr>
                        <a:t>690092910901259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10/14/2008</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831819362"/>
                  </a:ext>
                </a:extLst>
              </a:tr>
              <a:tr h="182880">
                <a:tc>
                  <a:txBody>
                    <a:bodyPr/>
                    <a:lstStyle/>
                    <a:p>
                      <a:pPr algn="l" fontAlgn="b"/>
                      <a:r>
                        <a:rPr lang="en-US" sz="1100" u="none" strike="noStrike">
                          <a:effectLst/>
                        </a:rPr>
                        <a:t>690118927501259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4/2007</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46735455"/>
                  </a:ext>
                </a:extLst>
              </a:tr>
              <a:tr h="182880">
                <a:tc>
                  <a:txBody>
                    <a:bodyPr/>
                    <a:lstStyle/>
                    <a:p>
                      <a:pPr algn="l" fontAlgn="b"/>
                      <a:r>
                        <a:rPr lang="en-US" sz="1100" u="none" strike="noStrike">
                          <a:effectLst/>
                        </a:rPr>
                        <a:t>36360502470502900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9/12/2017</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2017100599019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36</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J0706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58173338"/>
                  </a:ext>
                </a:extLst>
              </a:tr>
              <a:tr h="182880">
                <a:tc>
                  <a:txBody>
                    <a:bodyPr/>
                    <a:lstStyle/>
                    <a:p>
                      <a:pPr algn="l" fontAlgn="b"/>
                      <a:r>
                        <a:rPr lang="en-US" sz="1100" u="none" strike="noStrike">
                          <a:effectLst/>
                        </a:rPr>
                        <a:t>256023700926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4/13/200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25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J3490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648445482"/>
                  </a:ext>
                </a:extLst>
              </a:tr>
              <a:tr h="182880">
                <a:tc>
                  <a:txBody>
                    <a:bodyPr/>
                    <a:lstStyle/>
                    <a:p>
                      <a:pPr algn="l" fontAlgn="b"/>
                      <a:r>
                        <a:rPr lang="en-US" sz="1100" u="none" strike="noStrike">
                          <a:effectLst/>
                        </a:rPr>
                        <a:t>279646961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1/13/201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1508405621911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403</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40591003"/>
                  </a:ext>
                </a:extLst>
              </a:tr>
              <a:tr h="182880">
                <a:tc>
                  <a:txBody>
                    <a:bodyPr/>
                    <a:lstStyle/>
                    <a:p>
                      <a:pPr algn="l" fontAlgn="b"/>
                      <a:r>
                        <a:rPr lang="en-US" sz="1100" u="none" strike="noStrike">
                          <a:effectLst/>
                        </a:rPr>
                        <a:t>690118940101259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3/18/2011</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73195475"/>
                  </a:ext>
                </a:extLst>
              </a:tr>
              <a:tr h="182880">
                <a:tc>
                  <a:txBody>
                    <a:bodyPr/>
                    <a:lstStyle/>
                    <a:p>
                      <a:pPr algn="l" fontAlgn="b"/>
                      <a:r>
                        <a:rPr lang="en-US" sz="1100" u="none" strike="noStrike">
                          <a:effectLst/>
                        </a:rPr>
                        <a:t>270102096529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18/2007</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209075087"/>
                  </a:ext>
                </a:extLst>
              </a:tr>
              <a:tr h="182880">
                <a:tc>
                  <a:txBody>
                    <a:bodyPr/>
                    <a:lstStyle/>
                    <a:p>
                      <a:pPr algn="l" fontAlgn="b"/>
                      <a:r>
                        <a:rPr lang="en-US" sz="1100" u="none" strike="noStrike">
                          <a:effectLst/>
                        </a:rPr>
                        <a:t>690092066201259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10/13/2008</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6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dirty="0">
                          <a:effectLst/>
                        </a:rPr>
                        <a:t>92004</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980717772"/>
                  </a:ext>
                </a:extLst>
              </a:tr>
            </a:tbl>
          </a:graphicData>
        </a:graphic>
      </p:graphicFrame>
    </p:spTree>
    <p:extLst>
      <p:ext uri="{BB962C8B-B14F-4D97-AF65-F5344CB8AC3E}">
        <p14:creationId xmlns:p14="http://schemas.microsoft.com/office/powerpoint/2010/main" val="313541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85547-98E8-45E5-B7CD-FF0E4583064A}"/>
              </a:ext>
            </a:extLst>
          </p:cNvPr>
          <p:cNvSpPr>
            <a:spLocks noGrp="1"/>
          </p:cNvSpPr>
          <p:nvPr>
            <p:ph type="title"/>
          </p:nvPr>
        </p:nvSpPr>
        <p:spPr/>
        <p:txBody>
          <a:bodyPr/>
          <a:lstStyle/>
          <a:p>
            <a:r>
              <a:rPr lang="en-US" dirty="0"/>
              <a:t>Use Case 2 – Pharmacy Claim Sample</a:t>
            </a:r>
          </a:p>
        </p:txBody>
      </p:sp>
      <p:graphicFrame>
        <p:nvGraphicFramePr>
          <p:cNvPr id="17" name="Table 16">
            <a:extLst>
              <a:ext uri="{FF2B5EF4-FFF2-40B4-BE49-F238E27FC236}">
                <a16:creationId xmlns:a16="http://schemas.microsoft.com/office/drawing/2014/main" id="{5BA0AB9F-8F9E-4C36-9134-68A5DF20ABE3}"/>
              </a:ext>
            </a:extLst>
          </p:cNvPr>
          <p:cNvGraphicFramePr>
            <a:graphicFrameLocks noGrp="1"/>
          </p:cNvGraphicFramePr>
          <p:nvPr>
            <p:extLst>
              <p:ext uri="{D42A27DB-BD31-4B8C-83A1-F6EECF244321}">
                <p14:modId xmlns:p14="http://schemas.microsoft.com/office/powerpoint/2010/main" val="2823425242"/>
              </p:ext>
            </p:extLst>
          </p:nvPr>
        </p:nvGraphicFramePr>
        <p:xfrm>
          <a:off x="372717" y="1088266"/>
          <a:ext cx="11620500" cy="3316702"/>
        </p:xfrm>
        <a:graphic>
          <a:graphicData uri="http://schemas.openxmlformats.org/drawingml/2006/table">
            <a:tbl>
              <a:tblPr>
                <a:tableStyleId>{5C22544A-7EE6-4342-B048-85BDC9FD1C3A}</a:tableStyleId>
              </a:tblPr>
              <a:tblGrid>
                <a:gridCol w="581440">
                  <a:extLst>
                    <a:ext uri="{9D8B030D-6E8A-4147-A177-3AD203B41FA5}">
                      <a16:colId xmlns:a16="http://schemas.microsoft.com/office/drawing/2014/main" val="1526747765"/>
                    </a:ext>
                  </a:extLst>
                </a:gridCol>
                <a:gridCol w="1073426">
                  <a:extLst>
                    <a:ext uri="{9D8B030D-6E8A-4147-A177-3AD203B41FA5}">
                      <a16:colId xmlns:a16="http://schemas.microsoft.com/office/drawing/2014/main" val="3388260975"/>
                    </a:ext>
                  </a:extLst>
                </a:gridCol>
                <a:gridCol w="586408">
                  <a:extLst>
                    <a:ext uri="{9D8B030D-6E8A-4147-A177-3AD203B41FA5}">
                      <a16:colId xmlns:a16="http://schemas.microsoft.com/office/drawing/2014/main" val="3162557415"/>
                    </a:ext>
                  </a:extLst>
                </a:gridCol>
                <a:gridCol w="457200">
                  <a:extLst>
                    <a:ext uri="{9D8B030D-6E8A-4147-A177-3AD203B41FA5}">
                      <a16:colId xmlns:a16="http://schemas.microsoft.com/office/drawing/2014/main" val="787261093"/>
                    </a:ext>
                  </a:extLst>
                </a:gridCol>
                <a:gridCol w="466070">
                  <a:extLst>
                    <a:ext uri="{9D8B030D-6E8A-4147-A177-3AD203B41FA5}">
                      <a16:colId xmlns:a16="http://schemas.microsoft.com/office/drawing/2014/main" val="2818681244"/>
                    </a:ext>
                  </a:extLst>
                </a:gridCol>
                <a:gridCol w="591263">
                  <a:extLst>
                    <a:ext uri="{9D8B030D-6E8A-4147-A177-3AD203B41FA5}">
                      <a16:colId xmlns:a16="http://schemas.microsoft.com/office/drawing/2014/main" val="3443101543"/>
                    </a:ext>
                  </a:extLst>
                </a:gridCol>
                <a:gridCol w="1039808">
                  <a:extLst>
                    <a:ext uri="{9D8B030D-6E8A-4147-A177-3AD203B41FA5}">
                      <a16:colId xmlns:a16="http://schemas.microsoft.com/office/drawing/2014/main" val="3137050079"/>
                    </a:ext>
                  </a:extLst>
                </a:gridCol>
                <a:gridCol w="387380">
                  <a:extLst>
                    <a:ext uri="{9D8B030D-6E8A-4147-A177-3AD203B41FA5}">
                      <a16:colId xmlns:a16="http://schemas.microsoft.com/office/drawing/2014/main" val="972319604"/>
                    </a:ext>
                  </a:extLst>
                </a:gridCol>
                <a:gridCol w="967087">
                  <a:extLst>
                    <a:ext uri="{9D8B030D-6E8A-4147-A177-3AD203B41FA5}">
                      <a16:colId xmlns:a16="http://schemas.microsoft.com/office/drawing/2014/main" val="2219903465"/>
                    </a:ext>
                  </a:extLst>
                </a:gridCol>
                <a:gridCol w="655620">
                  <a:extLst>
                    <a:ext uri="{9D8B030D-6E8A-4147-A177-3AD203B41FA5}">
                      <a16:colId xmlns:a16="http://schemas.microsoft.com/office/drawing/2014/main" val="3205377329"/>
                    </a:ext>
                  </a:extLst>
                </a:gridCol>
                <a:gridCol w="786184">
                  <a:extLst>
                    <a:ext uri="{9D8B030D-6E8A-4147-A177-3AD203B41FA5}">
                      <a16:colId xmlns:a16="http://schemas.microsoft.com/office/drawing/2014/main" val="2863115271"/>
                    </a:ext>
                  </a:extLst>
                </a:gridCol>
                <a:gridCol w="509709">
                  <a:extLst>
                    <a:ext uri="{9D8B030D-6E8A-4147-A177-3AD203B41FA5}">
                      <a16:colId xmlns:a16="http://schemas.microsoft.com/office/drawing/2014/main" val="2442833200"/>
                    </a:ext>
                  </a:extLst>
                </a:gridCol>
                <a:gridCol w="662623">
                  <a:extLst>
                    <a:ext uri="{9D8B030D-6E8A-4147-A177-3AD203B41FA5}">
                      <a16:colId xmlns:a16="http://schemas.microsoft.com/office/drawing/2014/main" val="2307957387"/>
                    </a:ext>
                  </a:extLst>
                </a:gridCol>
                <a:gridCol w="621846">
                  <a:extLst>
                    <a:ext uri="{9D8B030D-6E8A-4147-A177-3AD203B41FA5}">
                      <a16:colId xmlns:a16="http://schemas.microsoft.com/office/drawing/2014/main" val="2964437192"/>
                    </a:ext>
                  </a:extLst>
                </a:gridCol>
                <a:gridCol w="632040">
                  <a:extLst>
                    <a:ext uri="{9D8B030D-6E8A-4147-A177-3AD203B41FA5}">
                      <a16:colId xmlns:a16="http://schemas.microsoft.com/office/drawing/2014/main" val="100025181"/>
                    </a:ext>
                  </a:extLst>
                </a:gridCol>
                <a:gridCol w="1011133">
                  <a:extLst>
                    <a:ext uri="{9D8B030D-6E8A-4147-A177-3AD203B41FA5}">
                      <a16:colId xmlns:a16="http://schemas.microsoft.com/office/drawing/2014/main" val="730276593"/>
                    </a:ext>
                  </a:extLst>
                </a:gridCol>
                <a:gridCol w="591263">
                  <a:extLst>
                    <a:ext uri="{9D8B030D-6E8A-4147-A177-3AD203B41FA5}">
                      <a16:colId xmlns:a16="http://schemas.microsoft.com/office/drawing/2014/main" val="1219132518"/>
                    </a:ext>
                  </a:extLst>
                </a:gridCol>
              </a:tblGrid>
              <a:tr h="549364">
                <a:tc>
                  <a:txBody>
                    <a:bodyPr/>
                    <a:lstStyle/>
                    <a:p>
                      <a:pPr algn="l" fontAlgn="b"/>
                      <a:r>
                        <a:rPr lang="en-US" sz="900" b="1" u="none" strike="noStrike">
                          <a:effectLst/>
                        </a:rPr>
                        <a:t> ACCOUNT_NBR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dirty="0">
                          <a:effectLst/>
                        </a:rPr>
                        <a:t>ADJUDICATED_</a:t>
                      </a:r>
                    </a:p>
                    <a:p>
                      <a:pPr algn="l" fontAlgn="b"/>
                      <a:r>
                        <a:rPr lang="en-US" sz="900" b="1" u="none" strike="noStrike" dirty="0">
                          <a:effectLst/>
                        </a:rPr>
                        <a:t>GPI_CD </a:t>
                      </a:r>
                      <a:endParaRPr lang="en-US" sz="900" b="1" i="0" u="none" strike="noStrike" dirty="0">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dirty="0">
                          <a:effectLst/>
                        </a:rPr>
                        <a:t>AWP_AMT  </a:t>
                      </a:r>
                      <a:endParaRPr lang="en-US" sz="900" b="1" i="0" u="none" strike="noStrike" dirty="0">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CLM_LN_STATUS_CD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CUSTOMER_NBR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DISP_DT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DISP_PRVDR_ID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dirty="0">
                          <a:effectLst/>
                        </a:rPr>
                        <a:t>FILE_</a:t>
                      </a:r>
                    </a:p>
                    <a:p>
                      <a:pPr algn="l" fontAlgn="b"/>
                      <a:r>
                        <a:rPr lang="en-US" sz="900" b="1" u="none" strike="noStrike" dirty="0">
                          <a:effectLst/>
                        </a:rPr>
                        <a:t>ID </a:t>
                      </a:r>
                      <a:endParaRPr lang="en-US" sz="900" b="1" i="0" u="none" strike="noStrike" dirty="0">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MEMBER_ID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NABP_NBR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NDC_CD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PAID_AMT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PRESCRIBER_ID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PRESCRIPTION_NBR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PROCESS_DT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a:effectLst/>
                        </a:rPr>
                        <a:t>RX_CLAIM_ID      </a:t>
                      </a:r>
                      <a:endParaRPr lang="en-US" sz="900" b="1" i="0" u="none" strike="noStrike">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tc>
                  <a:txBody>
                    <a:bodyPr/>
                    <a:lstStyle/>
                    <a:p>
                      <a:pPr algn="l" fontAlgn="b"/>
                      <a:r>
                        <a:rPr lang="en-US" sz="900" b="1" u="none" strike="noStrike" dirty="0">
                          <a:effectLst/>
                        </a:rPr>
                        <a:t>VENDOR</a:t>
                      </a:r>
                    </a:p>
                    <a:p>
                      <a:pPr algn="l" fontAlgn="b"/>
                      <a:r>
                        <a:rPr lang="en-US" sz="900" b="1" u="none" strike="noStrike" dirty="0">
                          <a:effectLst/>
                        </a:rPr>
                        <a:t>_ID </a:t>
                      </a:r>
                      <a:endParaRPr lang="en-US" sz="900" b="1" i="0" u="none" strike="noStrike" dirty="0">
                        <a:solidFill>
                          <a:srgbClr val="000000"/>
                        </a:solidFill>
                        <a:effectLst/>
                        <a:latin typeface="Calibri" panose="020F0502020204030204" pitchFamily="34" charset="0"/>
                      </a:endParaRPr>
                    </a:p>
                  </a:txBody>
                  <a:tcPr marL="6173" marR="6173" marT="6173" marB="0" anchor="b">
                    <a:solidFill>
                      <a:schemeClr val="accent3">
                        <a:lumMod val="40000"/>
                        <a:lumOff val="60000"/>
                      </a:schemeClr>
                    </a:solidFill>
                  </a:tcPr>
                </a:tc>
                <a:extLst>
                  <a:ext uri="{0D108BD9-81ED-4DB2-BD59-A6C34878D82A}">
                    <a16:rowId xmlns:a16="http://schemas.microsoft.com/office/drawing/2014/main" val="929612321"/>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8840202000372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025801500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29593394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4822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380188039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3118001903"/>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450505010033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86205749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0.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54826192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27767</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380188039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4259810965"/>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450505010033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6/10/2018</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86205749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0.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54826192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27767</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10/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730313066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156004813"/>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8840202000372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10/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025801500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29593394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4822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10/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7303130672</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43132994"/>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615008000034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9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78581577</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4170476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4430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3801880392</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2597649025"/>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240101510202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8.52</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2/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16206768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6</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68964538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5202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2/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380188038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2356582647"/>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240101510202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8.52</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99999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2/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16206768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6</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68964538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5202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2/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380188039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3047595862"/>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8840202000372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99999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025801500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29593394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4822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380188039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2186574376"/>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450505010033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5/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86205749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8.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54826192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27767</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5/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0503582306</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3021192918"/>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8840202000372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025801500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29593394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4822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050358230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3199777467"/>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615008000034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9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5/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78581577</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4170476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4430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5/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0503582307</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1546094338"/>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8840202000372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025801500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29593394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4822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3/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050358230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2819512748"/>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400001010703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3.3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7/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0505001506</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2.9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4170476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4090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17/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17026871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240904157"/>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8840202000372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2/18/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0258015001</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29593394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0925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2/18/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050358228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3289601617"/>
                  </a:ext>
                </a:extLst>
              </a:tr>
              <a:tr h="148143">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400001010703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3.39</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19/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0505001506</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2.9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417047663</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4090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19/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050358230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431638703"/>
                  </a:ext>
                </a:extLst>
              </a:tr>
              <a:tr h="148143">
                <a:tc>
                  <a:txBody>
                    <a:bodyPr/>
                    <a:lstStyle/>
                    <a:p>
                      <a:pPr algn="r" fontAlgn="b"/>
                      <a:r>
                        <a:rPr lang="en-US" sz="900" u="none" strike="noStrike" dirty="0">
                          <a:effectLst/>
                        </a:rPr>
                        <a:t>4</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450505010033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17/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65862057490</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9.44</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54826192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527767</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1/17/2018</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a:effectLst/>
                        </a:rPr>
                        <a:t>381810503582285</a:t>
                      </a:r>
                      <a:endParaRPr lang="en-US" sz="900" b="0" i="0" u="none" strike="noStrike">
                        <a:solidFill>
                          <a:srgbClr val="000000"/>
                        </a:solidFill>
                        <a:effectLst/>
                        <a:latin typeface="Calibri" panose="020F0502020204030204" pitchFamily="34" charset="0"/>
                      </a:endParaRPr>
                    </a:p>
                  </a:txBody>
                  <a:tcPr marL="6173" marR="6173" marT="6173" marB="0" anchor="b"/>
                </a:tc>
                <a:tc>
                  <a:txBody>
                    <a:bodyPr/>
                    <a:lstStyle/>
                    <a:p>
                      <a:pPr algn="r" fontAlgn="b"/>
                      <a:r>
                        <a:rPr lang="en-US" sz="900" u="none" strike="noStrike" dirty="0">
                          <a:effectLst/>
                        </a:rPr>
                        <a:t>33365</a:t>
                      </a:r>
                      <a:endParaRPr lang="en-US" sz="900" b="0" i="0" u="none" strike="noStrike" dirty="0">
                        <a:solidFill>
                          <a:srgbClr val="000000"/>
                        </a:solidFill>
                        <a:effectLst/>
                        <a:latin typeface="Calibri" panose="020F0502020204030204" pitchFamily="34" charset="0"/>
                      </a:endParaRPr>
                    </a:p>
                  </a:txBody>
                  <a:tcPr marL="6173" marR="6173" marT="6173" marB="0" anchor="b"/>
                </a:tc>
                <a:extLst>
                  <a:ext uri="{0D108BD9-81ED-4DB2-BD59-A6C34878D82A}">
                    <a16:rowId xmlns:a16="http://schemas.microsoft.com/office/drawing/2014/main" val="321825712"/>
                  </a:ext>
                </a:extLst>
              </a:tr>
            </a:tbl>
          </a:graphicData>
        </a:graphic>
      </p:graphicFrame>
      <p:graphicFrame>
        <p:nvGraphicFramePr>
          <p:cNvPr id="18" name="Table 17">
            <a:extLst>
              <a:ext uri="{FF2B5EF4-FFF2-40B4-BE49-F238E27FC236}">
                <a16:creationId xmlns:a16="http://schemas.microsoft.com/office/drawing/2014/main" id="{7A47E7A9-E1FE-471A-8B59-E9BC4BB72360}"/>
              </a:ext>
            </a:extLst>
          </p:cNvPr>
          <p:cNvGraphicFramePr>
            <a:graphicFrameLocks noGrp="1"/>
          </p:cNvGraphicFramePr>
          <p:nvPr>
            <p:extLst>
              <p:ext uri="{D42A27DB-BD31-4B8C-83A1-F6EECF244321}">
                <p14:modId xmlns:p14="http://schemas.microsoft.com/office/powerpoint/2010/main" val="3356510802"/>
              </p:ext>
            </p:extLst>
          </p:nvPr>
        </p:nvGraphicFramePr>
        <p:xfrm>
          <a:off x="378814" y="4391252"/>
          <a:ext cx="11599826" cy="977742"/>
        </p:xfrm>
        <a:graphic>
          <a:graphicData uri="http://schemas.openxmlformats.org/drawingml/2006/table">
            <a:tbl>
              <a:tblPr>
                <a:tableStyleId>{5C22544A-7EE6-4342-B048-85BDC9FD1C3A}</a:tableStyleId>
              </a:tblPr>
              <a:tblGrid>
                <a:gridCol w="571585">
                  <a:extLst>
                    <a:ext uri="{9D8B030D-6E8A-4147-A177-3AD203B41FA5}">
                      <a16:colId xmlns:a16="http://schemas.microsoft.com/office/drawing/2014/main" val="2165922633"/>
                    </a:ext>
                  </a:extLst>
                </a:gridCol>
                <a:gridCol w="1072207">
                  <a:extLst>
                    <a:ext uri="{9D8B030D-6E8A-4147-A177-3AD203B41FA5}">
                      <a16:colId xmlns:a16="http://schemas.microsoft.com/office/drawing/2014/main" val="1937719860"/>
                    </a:ext>
                  </a:extLst>
                </a:gridCol>
                <a:gridCol w="585572">
                  <a:extLst>
                    <a:ext uri="{9D8B030D-6E8A-4147-A177-3AD203B41FA5}">
                      <a16:colId xmlns:a16="http://schemas.microsoft.com/office/drawing/2014/main" val="3084127274"/>
                    </a:ext>
                  </a:extLst>
                </a:gridCol>
                <a:gridCol w="477922">
                  <a:extLst>
                    <a:ext uri="{9D8B030D-6E8A-4147-A177-3AD203B41FA5}">
                      <a16:colId xmlns:a16="http://schemas.microsoft.com/office/drawing/2014/main" val="2368511002"/>
                    </a:ext>
                  </a:extLst>
                </a:gridCol>
                <a:gridCol w="438296">
                  <a:extLst>
                    <a:ext uri="{9D8B030D-6E8A-4147-A177-3AD203B41FA5}">
                      <a16:colId xmlns:a16="http://schemas.microsoft.com/office/drawing/2014/main" val="1900971193"/>
                    </a:ext>
                  </a:extLst>
                </a:gridCol>
                <a:gridCol w="585572">
                  <a:extLst>
                    <a:ext uri="{9D8B030D-6E8A-4147-A177-3AD203B41FA5}">
                      <a16:colId xmlns:a16="http://schemas.microsoft.com/office/drawing/2014/main" val="231451856"/>
                    </a:ext>
                  </a:extLst>
                </a:gridCol>
                <a:gridCol w="1048772">
                  <a:extLst>
                    <a:ext uri="{9D8B030D-6E8A-4147-A177-3AD203B41FA5}">
                      <a16:colId xmlns:a16="http://schemas.microsoft.com/office/drawing/2014/main" val="3937780696"/>
                    </a:ext>
                  </a:extLst>
                </a:gridCol>
                <a:gridCol w="372249">
                  <a:extLst>
                    <a:ext uri="{9D8B030D-6E8A-4147-A177-3AD203B41FA5}">
                      <a16:colId xmlns:a16="http://schemas.microsoft.com/office/drawing/2014/main" val="2083125639"/>
                    </a:ext>
                  </a:extLst>
                </a:gridCol>
                <a:gridCol w="991731">
                  <a:extLst>
                    <a:ext uri="{9D8B030D-6E8A-4147-A177-3AD203B41FA5}">
                      <a16:colId xmlns:a16="http://schemas.microsoft.com/office/drawing/2014/main" val="3412297325"/>
                    </a:ext>
                  </a:extLst>
                </a:gridCol>
                <a:gridCol w="655320">
                  <a:extLst>
                    <a:ext uri="{9D8B030D-6E8A-4147-A177-3AD203B41FA5}">
                      <a16:colId xmlns:a16="http://schemas.microsoft.com/office/drawing/2014/main" val="1447143298"/>
                    </a:ext>
                  </a:extLst>
                </a:gridCol>
                <a:gridCol w="793396">
                  <a:extLst>
                    <a:ext uri="{9D8B030D-6E8A-4147-A177-3AD203B41FA5}">
                      <a16:colId xmlns:a16="http://schemas.microsoft.com/office/drawing/2014/main" val="3605593035"/>
                    </a:ext>
                  </a:extLst>
                </a:gridCol>
                <a:gridCol w="511410">
                  <a:extLst>
                    <a:ext uri="{9D8B030D-6E8A-4147-A177-3AD203B41FA5}">
                      <a16:colId xmlns:a16="http://schemas.microsoft.com/office/drawing/2014/main" val="2113353871"/>
                    </a:ext>
                  </a:extLst>
                </a:gridCol>
                <a:gridCol w="673440">
                  <a:extLst>
                    <a:ext uri="{9D8B030D-6E8A-4147-A177-3AD203B41FA5}">
                      <a16:colId xmlns:a16="http://schemas.microsoft.com/office/drawing/2014/main" val="1148543729"/>
                    </a:ext>
                  </a:extLst>
                </a:gridCol>
                <a:gridCol w="612679">
                  <a:extLst>
                    <a:ext uri="{9D8B030D-6E8A-4147-A177-3AD203B41FA5}">
                      <a16:colId xmlns:a16="http://schemas.microsoft.com/office/drawing/2014/main" val="1830687415"/>
                    </a:ext>
                  </a:extLst>
                </a:gridCol>
                <a:gridCol w="643061">
                  <a:extLst>
                    <a:ext uri="{9D8B030D-6E8A-4147-A177-3AD203B41FA5}">
                      <a16:colId xmlns:a16="http://schemas.microsoft.com/office/drawing/2014/main" val="1437317121"/>
                    </a:ext>
                  </a:extLst>
                </a:gridCol>
                <a:gridCol w="1004511">
                  <a:extLst>
                    <a:ext uri="{9D8B030D-6E8A-4147-A177-3AD203B41FA5}">
                      <a16:colId xmlns:a16="http://schemas.microsoft.com/office/drawing/2014/main" val="254876595"/>
                    </a:ext>
                  </a:extLst>
                </a:gridCol>
                <a:gridCol w="562103">
                  <a:extLst>
                    <a:ext uri="{9D8B030D-6E8A-4147-A177-3AD203B41FA5}">
                      <a16:colId xmlns:a16="http://schemas.microsoft.com/office/drawing/2014/main" val="1078540194"/>
                    </a:ext>
                  </a:extLst>
                </a:gridCol>
              </a:tblGrid>
              <a:tr h="162957">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22100045000325</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5.01</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l" fontAlgn="b"/>
                      <a:r>
                        <a:rPr lang="en-US" sz="900" u="none" strike="noStrike" dirty="0">
                          <a:effectLst/>
                        </a:rPr>
                        <a:t>P               </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2/26/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995172018941865</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65</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59746017506</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417047663</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541620</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2/26/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81810503582293</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790" marB="0" anchor="b"/>
                </a:tc>
                <a:extLst>
                  <a:ext uri="{0D108BD9-81ED-4DB2-BD59-A6C34878D82A}">
                    <a16:rowId xmlns:a16="http://schemas.microsoft.com/office/drawing/2014/main" val="3656203775"/>
                  </a:ext>
                </a:extLst>
              </a:tr>
              <a:tr h="162957">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4000010107030</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3.39</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l" fontAlgn="b"/>
                      <a:r>
                        <a:rPr lang="en-US" sz="900" u="none" strike="noStrike" dirty="0">
                          <a:effectLst/>
                        </a:rPr>
                        <a:t>P               </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3/22/2018</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995172018941865</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40167550948925</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0505001506</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2.9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417047663</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540900</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22/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81810503582302</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790" marB="0" anchor="b"/>
                </a:tc>
                <a:extLst>
                  <a:ext uri="{0D108BD9-81ED-4DB2-BD59-A6C34878D82A}">
                    <a16:rowId xmlns:a16="http://schemas.microsoft.com/office/drawing/2014/main" val="1730728092"/>
                  </a:ext>
                </a:extLst>
              </a:tr>
              <a:tr h="162957">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88402020003721</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63</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17/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0258015001</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295933943</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509259</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17/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81810503582284</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790" marB="0" anchor="b"/>
                </a:tc>
                <a:extLst>
                  <a:ext uri="{0D108BD9-81ED-4DB2-BD59-A6C34878D82A}">
                    <a16:rowId xmlns:a16="http://schemas.microsoft.com/office/drawing/2014/main" val="4229050408"/>
                  </a:ext>
                </a:extLst>
              </a:tr>
              <a:tr h="162957">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4000010107040</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4.32</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27/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0505001606</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27</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417047663</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517916</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27/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81810503582286</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790" marB="0" anchor="b"/>
                </a:tc>
                <a:extLst>
                  <a:ext uri="{0D108BD9-81ED-4DB2-BD59-A6C34878D82A}">
                    <a16:rowId xmlns:a16="http://schemas.microsoft.com/office/drawing/2014/main" val="1387982232"/>
                  </a:ext>
                </a:extLst>
              </a:tr>
              <a:tr h="162957">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44505050100330</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5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2/18/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5862057490</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9.44</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54826192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527767</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2/18/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81810503582289</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3365</a:t>
                      </a:r>
                      <a:endParaRPr lang="en-US" sz="900" b="0" i="0" u="none" strike="noStrike">
                        <a:solidFill>
                          <a:srgbClr val="000000"/>
                        </a:solidFill>
                        <a:effectLst/>
                        <a:latin typeface="Calibri" panose="020F0502020204030204" pitchFamily="34" charset="0"/>
                      </a:endParaRPr>
                    </a:p>
                  </a:txBody>
                  <a:tcPr marL="6173" marR="6173" marT="6790" marB="0" anchor="b"/>
                </a:tc>
                <a:extLst>
                  <a:ext uri="{0D108BD9-81ED-4DB2-BD59-A6C34878D82A}">
                    <a16:rowId xmlns:a16="http://schemas.microsoft.com/office/drawing/2014/main" val="3481925342"/>
                  </a:ext>
                </a:extLst>
              </a:tr>
              <a:tr h="162957">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4000010107040</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4.32</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l" fontAlgn="b"/>
                      <a:r>
                        <a:rPr lang="en-US" sz="900" u="none" strike="noStrike">
                          <a:effectLst/>
                        </a:rPr>
                        <a:t>P               </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999999</a:t>
                      </a:r>
                      <a:endParaRPr lang="en-US" sz="900" b="0" i="0" u="none" strike="noStrike" dirty="0">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2/24/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9951720189418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40167550948925</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894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60505001606</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27</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1417047663</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517916</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2/24/2018</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a:effectLst/>
                        </a:rPr>
                        <a:t>381810503582292</a:t>
                      </a:r>
                      <a:endParaRPr lang="en-US" sz="900" b="0" i="0" u="none" strike="noStrike">
                        <a:solidFill>
                          <a:srgbClr val="000000"/>
                        </a:solidFill>
                        <a:effectLst/>
                        <a:latin typeface="Calibri" panose="020F0502020204030204" pitchFamily="34" charset="0"/>
                      </a:endParaRPr>
                    </a:p>
                  </a:txBody>
                  <a:tcPr marL="6173" marR="6173" marT="6790" marB="0" anchor="b"/>
                </a:tc>
                <a:tc>
                  <a:txBody>
                    <a:bodyPr/>
                    <a:lstStyle/>
                    <a:p>
                      <a:pPr algn="r" fontAlgn="b"/>
                      <a:r>
                        <a:rPr lang="en-US" sz="900" u="none" strike="noStrike" dirty="0">
                          <a:effectLst/>
                        </a:rPr>
                        <a:t>33365</a:t>
                      </a:r>
                      <a:endParaRPr lang="en-US" sz="900" b="0" i="0" u="none" strike="noStrike" dirty="0">
                        <a:solidFill>
                          <a:srgbClr val="000000"/>
                        </a:solidFill>
                        <a:effectLst/>
                        <a:latin typeface="Calibri" panose="020F0502020204030204" pitchFamily="34" charset="0"/>
                      </a:endParaRPr>
                    </a:p>
                  </a:txBody>
                  <a:tcPr marL="6173" marR="6173" marT="6790" marB="0" anchor="b"/>
                </a:tc>
                <a:extLst>
                  <a:ext uri="{0D108BD9-81ED-4DB2-BD59-A6C34878D82A}">
                    <a16:rowId xmlns:a16="http://schemas.microsoft.com/office/drawing/2014/main" val="3798449124"/>
                  </a:ext>
                </a:extLst>
              </a:tr>
            </a:tbl>
          </a:graphicData>
        </a:graphic>
      </p:graphicFrame>
    </p:spTree>
    <p:extLst>
      <p:ext uri="{BB962C8B-B14F-4D97-AF65-F5344CB8AC3E}">
        <p14:creationId xmlns:p14="http://schemas.microsoft.com/office/powerpoint/2010/main" val="1177355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EAB9A-4052-4EF4-B24B-BD317033D159}"/>
              </a:ext>
            </a:extLst>
          </p:cNvPr>
          <p:cNvSpPr>
            <a:spLocks noGrp="1"/>
          </p:cNvSpPr>
          <p:nvPr>
            <p:ph type="title"/>
          </p:nvPr>
        </p:nvSpPr>
        <p:spPr/>
        <p:txBody>
          <a:bodyPr/>
          <a:lstStyle/>
          <a:p>
            <a:r>
              <a:rPr lang="en-US" dirty="0"/>
              <a:t>Use Case 2 – External Data Index Fields</a:t>
            </a:r>
          </a:p>
        </p:txBody>
      </p:sp>
      <p:sp>
        <p:nvSpPr>
          <p:cNvPr id="3" name="Content Placeholder 2">
            <a:extLst>
              <a:ext uri="{FF2B5EF4-FFF2-40B4-BE49-F238E27FC236}">
                <a16:creationId xmlns:a16="http://schemas.microsoft.com/office/drawing/2014/main" id="{A2A7ACBE-BDCD-4F26-956E-BBAF98176ED7}"/>
              </a:ext>
            </a:extLst>
          </p:cNvPr>
          <p:cNvSpPr>
            <a:spLocks noGrp="1"/>
          </p:cNvSpPr>
          <p:nvPr>
            <p:ph sz="half" idx="1"/>
          </p:nvPr>
        </p:nvSpPr>
        <p:spPr>
          <a:xfrm>
            <a:off x="557929" y="1351718"/>
            <a:ext cx="5238478" cy="5204527"/>
          </a:xfrm>
        </p:spPr>
        <p:txBody>
          <a:bodyPr/>
          <a:lstStyle/>
          <a:p>
            <a:r>
              <a:rPr lang="en-US" dirty="0"/>
              <a:t>Pharmacy Claim Business Key  </a:t>
            </a:r>
          </a:p>
          <a:p>
            <a:r>
              <a:rPr lang="en-US" dirty="0"/>
              <a:t> </a:t>
            </a:r>
          </a:p>
          <a:p>
            <a:endParaRPr lang="en-US" dirty="0"/>
          </a:p>
          <a:p>
            <a:endParaRPr lang="en-US" dirty="0"/>
          </a:p>
        </p:txBody>
      </p:sp>
      <p:sp>
        <p:nvSpPr>
          <p:cNvPr id="4" name="Content Placeholder 3">
            <a:extLst>
              <a:ext uri="{FF2B5EF4-FFF2-40B4-BE49-F238E27FC236}">
                <a16:creationId xmlns:a16="http://schemas.microsoft.com/office/drawing/2014/main" id="{3391FEEF-F27B-41D9-B582-F93BB491DB23}"/>
              </a:ext>
            </a:extLst>
          </p:cNvPr>
          <p:cNvSpPr>
            <a:spLocks noGrp="1"/>
          </p:cNvSpPr>
          <p:nvPr>
            <p:ph sz="half" idx="10"/>
          </p:nvPr>
        </p:nvSpPr>
        <p:spPr>
          <a:xfrm>
            <a:off x="6453747" y="1351718"/>
            <a:ext cx="5403635" cy="5204527"/>
          </a:xfrm>
        </p:spPr>
        <p:txBody>
          <a:bodyPr/>
          <a:lstStyle/>
          <a:p>
            <a:r>
              <a:rPr lang="en-US" dirty="0"/>
              <a:t>External Data Index Fields</a:t>
            </a:r>
          </a:p>
          <a:p>
            <a:r>
              <a:rPr lang="en-US" sz="1400" dirty="0"/>
              <a:t>Use Case Specific Business Keys:</a:t>
            </a:r>
          </a:p>
          <a:p>
            <a:pPr marL="285750" indent="-285750">
              <a:buFont typeface="Arial" panose="020B0604020202020204" pitchFamily="34" charset="0"/>
              <a:buChar char="•"/>
            </a:pPr>
            <a:r>
              <a:rPr lang="en-US" sz="1400" dirty="0"/>
              <a:t>MEMBER_ID</a:t>
            </a:r>
          </a:p>
          <a:p>
            <a:pPr marL="285750" indent="-285750">
              <a:buFont typeface="Arial" panose="020B0604020202020204" pitchFamily="34" charset="0"/>
              <a:buChar char="•"/>
            </a:pPr>
            <a:r>
              <a:rPr lang="en-US" sz="1400" dirty="0"/>
              <a:t>DISP_DT</a:t>
            </a:r>
          </a:p>
          <a:p>
            <a:pPr marL="285750" indent="-285750">
              <a:buFont typeface="Arial" panose="020B0604020202020204" pitchFamily="34" charset="0"/>
              <a:buChar char="•"/>
            </a:pPr>
            <a:r>
              <a:rPr lang="en-US" sz="1400" dirty="0"/>
              <a:t>NDC_CD</a:t>
            </a:r>
          </a:p>
          <a:p>
            <a:pPr marL="285750" indent="-285750">
              <a:buFont typeface="Arial" panose="020B0604020202020204" pitchFamily="34" charset="0"/>
              <a:buChar char="•"/>
            </a:pPr>
            <a:r>
              <a:rPr lang="en-US" sz="1400" dirty="0"/>
              <a:t>NABP_NBR</a:t>
            </a:r>
          </a:p>
          <a:p>
            <a:r>
              <a:rPr lang="en-US" sz="1400" dirty="0"/>
              <a:t>As in previous use case, we will store core, descriptive fields:</a:t>
            </a:r>
          </a:p>
          <a:p>
            <a:pPr marL="285750" indent="-285750">
              <a:buFont typeface="Arial" panose="020B0604020202020204" pitchFamily="34" charset="0"/>
              <a:buChar char="•"/>
            </a:pPr>
            <a:r>
              <a:rPr lang="en-US" sz="1400" dirty="0"/>
              <a:t> DATA_SOURCE</a:t>
            </a:r>
          </a:p>
          <a:p>
            <a:pPr marL="285750" indent="-285750">
              <a:buFont typeface="Arial" panose="020B0604020202020204" pitchFamily="34" charset="0"/>
              <a:buChar char="•"/>
            </a:pPr>
            <a:r>
              <a:rPr lang="en-US" sz="1400" dirty="0"/>
              <a:t>DISPOSITION</a:t>
            </a:r>
          </a:p>
          <a:p>
            <a:pPr marL="285750" indent="-285750">
              <a:buFont typeface="Arial" panose="020B0604020202020204" pitchFamily="34" charset="0"/>
              <a:buChar char="•"/>
            </a:pPr>
            <a:r>
              <a:rPr lang="en-US" sz="1400" dirty="0"/>
              <a:t>COMMENTS</a:t>
            </a:r>
          </a:p>
          <a:p>
            <a:endParaRPr lang="en-US" dirty="0"/>
          </a:p>
        </p:txBody>
      </p:sp>
      <p:graphicFrame>
        <p:nvGraphicFramePr>
          <p:cNvPr id="7" name="Table 6">
            <a:extLst>
              <a:ext uri="{FF2B5EF4-FFF2-40B4-BE49-F238E27FC236}">
                <a16:creationId xmlns:a16="http://schemas.microsoft.com/office/drawing/2014/main" id="{D581B14C-E850-4EAA-8DC7-949294E4861B}"/>
              </a:ext>
            </a:extLst>
          </p:cNvPr>
          <p:cNvGraphicFramePr>
            <a:graphicFrameLocks noGrp="1"/>
          </p:cNvGraphicFramePr>
          <p:nvPr>
            <p:extLst>
              <p:ext uri="{D42A27DB-BD31-4B8C-83A1-F6EECF244321}">
                <p14:modId xmlns:p14="http://schemas.microsoft.com/office/powerpoint/2010/main" val="699484029"/>
              </p:ext>
            </p:extLst>
          </p:nvPr>
        </p:nvGraphicFramePr>
        <p:xfrm>
          <a:off x="557929" y="1747078"/>
          <a:ext cx="4904541" cy="3978264"/>
        </p:xfrm>
        <a:graphic>
          <a:graphicData uri="http://schemas.openxmlformats.org/drawingml/2006/table">
            <a:tbl>
              <a:tblPr>
                <a:tableStyleId>{5C22544A-7EE6-4342-B048-85BDC9FD1C3A}</a:tableStyleId>
              </a:tblPr>
              <a:tblGrid>
                <a:gridCol w="1777255">
                  <a:extLst>
                    <a:ext uri="{9D8B030D-6E8A-4147-A177-3AD203B41FA5}">
                      <a16:colId xmlns:a16="http://schemas.microsoft.com/office/drawing/2014/main" val="561753169"/>
                    </a:ext>
                  </a:extLst>
                </a:gridCol>
                <a:gridCol w="991161">
                  <a:extLst>
                    <a:ext uri="{9D8B030D-6E8A-4147-A177-3AD203B41FA5}">
                      <a16:colId xmlns:a16="http://schemas.microsoft.com/office/drawing/2014/main" val="1429733467"/>
                    </a:ext>
                  </a:extLst>
                </a:gridCol>
                <a:gridCol w="1110785">
                  <a:extLst>
                    <a:ext uri="{9D8B030D-6E8A-4147-A177-3AD203B41FA5}">
                      <a16:colId xmlns:a16="http://schemas.microsoft.com/office/drawing/2014/main" val="3009302860"/>
                    </a:ext>
                  </a:extLst>
                </a:gridCol>
                <a:gridCol w="1025340">
                  <a:extLst>
                    <a:ext uri="{9D8B030D-6E8A-4147-A177-3AD203B41FA5}">
                      <a16:colId xmlns:a16="http://schemas.microsoft.com/office/drawing/2014/main" val="2825929803"/>
                    </a:ext>
                  </a:extLst>
                </a:gridCol>
              </a:tblGrid>
              <a:tr h="165761">
                <a:tc>
                  <a:txBody>
                    <a:bodyPr/>
                    <a:lstStyle/>
                    <a:p>
                      <a:pPr algn="l" fontAlgn="b"/>
                      <a:r>
                        <a:rPr lang="en-US" sz="1000" b="1" u="none" strike="noStrike" dirty="0">
                          <a:effectLst/>
                        </a:rPr>
                        <a:t> MEMBER_ID          </a:t>
                      </a:r>
                      <a:endParaRPr lang="en-US" sz="1000" b="1" i="0" u="none" strike="noStrike" dirty="0">
                        <a:solidFill>
                          <a:srgbClr val="000000"/>
                        </a:solidFill>
                        <a:effectLst/>
                        <a:latin typeface="Calibri" panose="020F0502020204030204" pitchFamily="34" charset="0"/>
                      </a:endParaRPr>
                    </a:p>
                  </a:txBody>
                  <a:tcPr marL="6907" marR="6907" marT="6907" marB="0" anchor="b">
                    <a:solidFill>
                      <a:schemeClr val="accent3">
                        <a:lumMod val="40000"/>
                        <a:lumOff val="60000"/>
                      </a:schemeClr>
                    </a:solidFill>
                  </a:tcPr>
                </a:tc>
                <a:tc>
                  <a:txBody>
                    <a:bodyPr/>
                    <a:lstStyle/>
                    <a:p>
                      <a:pPr algn="l" fontAlgn="b"/>
                      <a:r>
                        <a:rPr lang="en-US" sz="1000" b="1" u="none" strike="noStrike" dirty="0">
                          <a:effectLst/>
                        </a:rPr>
                        <a:t>DISP_DT    </a:t>
                      </a:r>
                      <a:endParaRPr lang="en-US" sz="1000" b="1" i="0" u="none" strike="noStrike" dirty="0">
                        <a:solidFill>
                          <a:srgbClr val="000000"/>
                        </a:solidFill>
                        <a:effectLst/>
                        <a:latin typeface="Calibri" panose="020F0502020204030204" pitchFamily="34" charset="0"/>
                      </a:endParaRPr>
                    </a:p>
                  </a:txBody>
                  <a:tcPr marL="6907" marR="6907" marT="6907" marB="0" anchor="b">
                    <a:solidFill>
                      <a:schemeClr val="accent3">
                        <a:lumMod val="40000"/>
                        <a:lumOff val="60000"/>
                      </a:schemeClr>
                    </a:solidFill>
                  </a:tcPr>
                </a:tc>
                <a:tc>
                  <a:txBody>
                    <a:bodyPr/>
                    <a:lstStyle/>
                    <a:p>
                      <a:pPr algn="l" fontAlgn="b"/>
                      <a:r>
                        <a:rPr lang="en-US" sz="1000" b="1" u="none" strike="noStrike" dirty="0">
                          <a:effectLst/>
                        </a:rPr>
                        <a:t>NDC_CD      </a:t>
                      </a:r>
                      <a:endParaRPr lang="en-US" sz="1000" b="1" i="0" u="none" strike="noStrike" dirty="0">
                        <a:solidFill>
                          <a:srgbClr val="000000"/>
                        </a:solidFill>
                        <a:effectLst/>
                        <a:latin typeface="Calibri" panose="020F0502020204030204" pitchFamily="34" charset="0"/>
                      </a:endParaRPr>
                    </a:p>
                  </a:txBody>
                  <a:tcPr marL="6907" marR="6907" marT="6907" marB="0" anchor="b">
                    <a:solidFill>
                      <a:schemeClr val="accent3">
                        <a:lumMod val="40000"/>
                        <a:lumOff val="60000"/>
                      </a:schemeClr>
                    </a:solidFill>
                  </a:tcPr>
                </a:tc>
                <a:tc>
                  <a:txBody>
                    <a:bodyPr/>
                    <a:lstStyle/>
                    <a:p>
                      <a:pPr algn="l" fontAlgn="b"/>
                      <a:r>
                        <a:rPr lang="en-US" sz="1000" b="1" u="none" strike="noStrike" dirty="0">
                          <a:effectLst/>
                        </a:rPr>
                        <a:t>NABP_NBR</a:t>
                      </a:r>
                      <a:r>
                        <a:rPr lang="en-US" sz="1000" u="none" strike="noStrike" dirty="0">
                          <a:effectLst/>
                        </a:rPr>
                        <a:t> </a:t>
                      </a:r>
                      <a:endParaRPr lang="en-US" sz="1000" b="1" i="0" u="none" strike="noStrike" dirty="0">
                        <a:solidFill>
                          <a:srgbClr val="000000"/>
                        </a:solidFill>
                        <a:effectLst/>
                        <a:latin typeface="Calibri" panose="020F0502020204030204" pitchFamily="34" charset="0"/>
                      </a:endParaRPr>
                    </a:p>
                  </a:txBody>
                  <a:tcPr marL="6907" marR="6907" marT="6907" marB="0" anchor="b">
                    <a:solidFill>
                      <a:schemeClr val="accent3">
                        <a:lumMod val="40000"/>
                        <a:lumOff val="60000"/>
                      </a:schemeClr>
                    </a:solidFill>
                  </a:tcPr>
                </a:tc>
                <a:extLst>
                  <a:ext uri="{0D108BD9-81ED-4DB2-BD59-A6C34878D82A}">
                    <a16:rowId xmlns:a16="http://schemas.microsoft.com/office/drawing/2014/main" val="3544852539"/>
                  </a:ext>
                </a:extLst>
              </a:tr>
              <a:tr h="165761">
                <a:tc>
                  <a:txBody>
                    <a:bodyPr/>
                    <a:lstStyle/>
                    <a:p>
                      <a:pPr algn="r" fontAlgn="b"/>
                      <a:r>
                        <a:rPr lang="en-US" sz="1000" u="none" strike="noStrike">
                          <a:effectLst/>
                        </a:rPr>
                        <a:t>40167550948925</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8/9/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0258015001</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dirty="0">
                          <a:effectLst/>
                        </a:rPr>
                        <a:t>189418</a:t>
                      </a:r>
                      <a:endParaRPr lang="en-US" sz="1000" b="0" i="0" u="none" strike="noStrike" dirty="0">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404345692"/>
                  </a:ext>
                </a:extLst>
              </a:tr>
              <a:tr h="165761">
                <a:tc>
                  <a:txBody>
                    <a:bodyPr/>
                    <a:lstStyle/>
                    <a:p>
                      <a:pPr algn="r" fontAlgn="b"/>
                      <a:r>
                        <a:rPr lang="en-US" sz="1000" u="none" strike="noStrike">
                          <a:effectLst/>
                        </a:rPr>
                        <a:t>29295645967825</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4/2018</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406013601</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935533</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1232815664"/>
                  </a:ext>
                </a:extLst>
              </a:tr>
              <a:tr h="165761">
                <a:tc>
                  <a:txBody>
                    <a:bodyPr/>
                    <a:lstStyle/>
                    <a:p>
                      <a:pPr algn="r" fontAlgn="b"/>
                      <a:r>
                        <a:rPr lang="en-US" sz="1000" u="none" strike="noStrike">
                          <a:effectLst/>
                        </a:rPr>
                        <a:t>36360501578250200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0/7/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23320149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176890787"/>
                  </a:ext>
                </a:extLst>
              </a:tr>
              <a:tr h="165761">
                <a:tc>
                  <a:txBody>
                    <a:bodyPr/>
                    <a:lstStyle/>
                    <a:p>
                      <a:pPr algn="r" fontAlgn="b"/>
                      <a:r>
                        <a:rPr lang="en-US" sz="1000" u="none" strike="noStrike">
                          <a:effectLst/>
                        </a:rPr>
                        <a:t>33002319531825</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8/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58620574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046529</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2711106127"/>
                  </a:ext>
                </a:extLst>
              </a:tr>
              <a:tr h="165761">
                <a:tc>
                  <a:txBody>
                    <a:bodyPr/>
                    <a:lstStyle/>
                    <a:p>
                      <a:pPr algn="r" fontAlgn="b"/>
                      <a:r>
                        <a:rPr lang="en-US" sz="1000" u="none" strike="noStrike">
                          <a:effectLst/>
                        </a:rPr>
                        <a:t>69400718310120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22/2016</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93009001</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669498</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1912318172"/>
                  </a:ext>
                </a:extLst>
              </a:tr>
              <a:tr h="165761">
                <a:tc>
                  <a:txBody>
                    <a:bodyPr/>
                    <a:lstStyle/>
                    <a:p>
                      <a:pPr algn="r" fontAlgn="b"/>
                      <a:r>
                        <a:rPr lang="en-US" sz="1000" u="none" strike="noStrike">
                          <a:effectLst/>
                        </a:rPr>
                        <a:t>69400718310120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22/2016</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818001290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669498</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679770783"/>
                  </a:ext>
                </a:extLst>
              </a:tr>
              <a:tr h="165761">
                <a:tc>
                  <a:txBody>
                    <a:bodyPr/>
                    <a:lstStyle/>
                    <a:p>
                      <a:pPr algn="r" fontAlgn="b"/>
                      <a:r>
                        <a:rPr lang="en-US" sz="1000" u="none" strike="noStrike">
                          <a:effectLst/>
                        </a:rPr>
                        <a:t>69400718310120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22/2016</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07420154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669498</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2265125331"/>
                  </a:ext>
                </a:extLst>
              </a:tr>
              <a:tr h="165761">
                <a:tc>
                  <a:txBody>
                    <a:bodyPr/>
                    <a:lstStyle/>
                    <a:p>
                      <a:pPr algn="r" fontAlgn="b"/>
                      <a:r>
                        <a:rPr lang="en-US" sz="1000" u="none" strike="noStrike">
                          <a:effectLst/>
                        </a:rPr>
                        <a:t>69400718310120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22/2016</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2713471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669498</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33223798"/>
                  </a:ext>
                </a:extLst>
              </a:tr>
              <a:tr h="165761">
                <a:tc>
                  <a:txBody>
                    <a:bodyPr/>
                    <a:lstStyle/>
                    <a:p>
                      <a:pPr algn="r" fontAlgn="b"/>
                      <a:r>
                        <a:rPr lang="en-US" sz="1000" u="none" strike="noStrike">
                          <a:effectLst/>
                        </a:rPr>
                        <a:t>69400718310120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22/2016</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9307871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669498</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811482689"/>
                  </a:ext>
                </a:extLst>
              </a:tr>
              <a:tr h="165761">
                <a:tc>
                  <a:txBody>
                    <a:bodyPr/>
                    <a:lstStyle/>
                    <a:p>
                      <a:pPr algn="r" fontAlgn="b"/>
                      <a:r>
                        <a:rPr lang="en-US" sz="1000" u="none" strike="noStrike">
                          <a:effectLst/>
                        </a:rPr>
                        <a:t>69400718310120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22/2016</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6993006885</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669498</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3447849079"/>
                  </a:ext>
                </a:extLst>
              </a:tr>
              <a:tr h="165761">
                <a:tc>
                  <a:txBody>
                    <a:bodyPr/>
                    <a:lstStyle/>
                    <a:p>
                      <a:pPr algn="r" fontAlgn="b"/>
                      <a:r>
                        <a:rPr lang="en-US" sz="1000" u="none" strike="noStrike">
                          <a:effectLst/>
                        </a:rPr>
                        <a:t>21865761011125</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1/20/202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7070900026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2369797</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3277501049"/>
                  </a:ext>
                </a:extLst>
              </a:tr>
              <a:tr h="165761">
                <a:tc>
                  <a:txBody>
                    <a:bodyPr/>
                    <a:lstStyle/>
                    <a:p>
                      <a:pPr algn="r" fontAlgn="b"/>
                      <a:r>
                        <a:rPr lang="en-US" sz="1000" u="none" strike="noStrike">
                          <a:effectLst/>
                        </a:rPr>
                        <a:t>20736385379025</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1/20/202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2143611</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716684567"/>
                  </a:ext>
                </a:extLst>
              </a:tr>
              <a:tr h="165761">
                <a:tc>
                  <a:txBody>
                    <a:bodyPr/>
                    <a:lstStyle/>
                    <a:p>
                      <a:pPr algn="r" fontAlgn="b"/>
                      <a:r>
                        <a:rPr lang="en-US" sz="1000" u="none" strike="noStrike">
                          <a:effectLst/>
                        </a:rPr>
                        <a:t>36360501596019400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0/8/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36680115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4203177064"/>
                  </a:ext>
                </a:extLst>
              </a:tr>
              <a:tr h="165761">
                <a:tc>
                  <a:txBody>
                    <a:bodyPr/>
                    <a:lstStyle/>
                    <a:p>
                      <a:pPr algn="r" fontAlgn="b"/>
                      <a:r>
                        <a:rPr lang="en-US" sz="1000" u="none" strike="noStrike">
                          <a:effectLst/>
                        </a:rPr>
                        <a:t>29838207603025</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2/30/2018</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45612023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4033329</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2084802406"/>
                  </a:ext>
                </a:extLst>
              </a:tr>
              <a:tr h="165761">
                <a:tc>
                  <a:txBody>
                    <a:bodyPr/>
                    <a:lstStyle/>
                    <a:p>
                      <a:pPr algn="r" fontAlgn="b"/>
                      <a:r>
                        <a:rPr lang="en-US" sz="1000" u="none" strike="noStrike">
                          <a:effectLst/>
                        </a:rPr>
                        <a:t>7784025419014010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3/31/2014</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476408053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2659</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3869825851"/>
                  </a:ext>
                </a:extLst>
              </a:tr>
              <a:tr h="165761">
                <a:tc>
                  <a:txBody>
                    <a:bodyPr/>
                    <a:lstStyle/>
                    <a:p>
                      <a:pPr algn="r" fontAlgn="b"/>
                      <a:r>
                        <a:rPr lang="en-US" sz="1000" u="none" strike="noStrike">
                          <a:effectLst/>
                        </a:rPr>
                        <a:t>36360501545606000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9/1/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818004130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1632978104"/>
                  </a:ext>
                </a:extLst>
              </a:tr>
              <a:tr h="165761">
                <a:tc>
                  <a:txBody>
                    <a:bodyPr/>
                    <a:lstStyle/>
                    <a:p>
                      <a:pPr algn="r" fontAlgn="b"/>
                      <a:r>
                        <a:rPr lang="en-US" sz="1000" u="none" strike="noStrike">
                          <a:effectLst/>
                        </a:rPr>
                        <a:t>33935389241625</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1/7/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832027311</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4137435</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489633789"/>
                  </a:ext>
                </a:extLst>
              </a:tr>
              <a:tr h="165761">
                <a:tc>
                  <a:txBody>
                    <a:bodyPr/>
                    <a:lstStyle/>
                    <a:p>
                      <a:pPr algn="r" fontAlgn="b"/>
                      <a:r>
                        <a:rPr lang="en-US" sz="1000" u="none" strike="noStrike">
                          <a:effectLst/>
                        </a:rPr>
                        <a:t>34167043682225</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8/2021</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2451000751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2018449</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4256934887"/>
                  </a:ext>
                </a:extLst>
              </a:tr>
              <a:tr h="165761">
                <a:tc>
                  <a:txBody>
                    <a:bodyPr/>
                    <a:lstStyle/>
                    <a:p>
                      <a:pPr algn="r" fontAlgn="b"/>
                      <a:r>
                        <a:rPr lang="en-US" sz="1000" u="none" strike="noStrike">
                          <a:effectLst/>
                        </a:rPr>
                        <a:t>36360503295816500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0/13/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36680115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1998842160"/>
                  </a:ext>
                </a:extLst>
              </a:tr>
              <a:tr h="165761">
                <a:tc>
                  <a:txBody>
                    <a:bodyPr/>
                    <a:lstStyle/>
                    <a:p>
                      <a:pPr algn="r" fontAlgn="b"/>
                      <a:r>
                        <a:rPr lang="en-US" sz="1000" u="none" strike="noStrike">
                          <a:effectLst/>
                        </a:rPr>
                        <a:t>36360501592896200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0/13/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366801159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2695527236"/>
                  </a:ext>
                </a:extLst>
              </a:tr>
              <a:tr h="165761">
                <a:tc>
                  <a:txBody>
                    <a:bodyPr/>
                    <a:lstStyle/>
                    <a:p>
                      <a:pPr algn="r" fontAlgn="b"/>
                      <a:r>
                        <a:rPr lang="en-US" sz="1000" u="none" strike="noStrike">
                          <a:effectLst/>
                        </a:rPr>
                        <a:t>36360501279267600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7/19/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555097202</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737330813"/>
                  </a:ext>
                </a:extLst>
              </a:tr>
              <a:tr h="165761">
                <a:tc>
                  <a:txBody>
                    <a:bodyPr/>
                    <a:lstStyle/>
                    <a:p>
                      <a:pPr algn="r" fontAlgn="b"/>
                      <a:r>
                        <a:rPr lang="en-US" sz="1000" u="none" strike="noStrike">
                          <a:effectLst/>
                        </a:rPr>
                        <a:t>36360501205023600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6/22/2019</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1582101081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l" fontAlgn="b"/>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1099399308"/>
                  </a:ext>
                </a:extLst>
              </a:tr>
              <a:tr h="165761">
                <a:tc>
                  <a:txBody>
                    <a:bodyPr/>
                    <a:lstStyle/>
                    <a:p>
                      <a:pPr algn="r" fontAlgn="b"/>
                      <a:r>
                        <a:rPr lang="en-US" sz="1000" u="none" strike="noStrike">
                          <a:effectLst/>
                        </a:rPr>
                        <a:t>363508040566807000</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2/19/2018</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r" fontAlgn="b"/>
                      <a:r>
                        <a:rPr lang="en-US" sz="1000" u="none" strike="noStrike">
                          <a:effectLst/>
                        </a:rPr>
                        <a:t>99073070822</a:t>
                      </a:r>
                      <a:endParaRPr lang="en-US" sz="1000" b="0" i="0" u="none" strike="noStrike">
                        <a:solidFill>
                          <a:srgbClr val="000000"/>
                        </a:solidFill>
                        <a:effectLst/>
                        <a:latin typeface="Calibri" panose="020F0502020204030204" pitchFamily="34" charset="0"/>
                      </a:endParaRPr>
                    </a:p>
                  </a:txBody>
                  <a:tcPr marL="6907" marR="6907" marT="6907" marB="0" anchor="b"/>
                </a:tc>
                <a:tc>
                  <a:txBody>
                    <a:bodyPr/>
                    <a:lstStyle/>
                    <a:p>
                      <a:pPr algn="l" fontAlgn="b"/>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6907" marR="6907" marT="6907" marB="0" anchor="b"/>
                </a:tc>
                <a:extLst>
                  <a:ext uri="{0D108BD9-81ED-4DB2-BD59-A6C34878D82A}">
                    <a16:rowId xmlns:a16="http://schemas.microsoft.com/office/drawing/2014/main" val="1222312795"/>
                  </a:ext>
                </a:extLst>
              </a:tr>
            </a:tbl>
          </a:graphicData>
        </a:graphic>
      </p:graphicFrame>
    </p:spTree>
    <p:extLst>
      <p:ext uri="{BB962C8B-B14F-4D97-AF65-F5344CB8AC3E}">
        <p14:creationId xmlns:p14="http://schemas.microsoft.com/office/powerpoint/2010/main" val="3220359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85547-98E8-45E5-B7CD-FF0E4583064A}"/>
              </a:ext>
            </a:extLst>
          </p:cNvPr>
          <p:cNvSpPr>
            <a:spLocks noGrp="1"/>
          </p:cNvSpPr>
          <p:nvPr>
            <p:ph type="title"/>
          </p:nvPr>
        </p:nvSpPr>
        <p:spPr/>
        <p:txBody>
          <a:bodyPr/>
          <a:lstStyle/>
          <a:p>
            <a:r>
              <a:rPr lang="en-US" dirty="0"/>
              <a:t>Use Case 3 – Lab Results Sample</a:t>
            </a:r>
          </a:p>
        </p:txBody>
      </p:sp>
      <p:graphicFrame>
        <p:nvGraphicFramePr>
          <p:cNvPr id="8" name="Table 7">
            <a:extLst>
              <a:ext uri="{FF2B5EF4-FFF2-40B4-BE49-F238E27FC236}">
                <a16:creationId xmlns:a16="http://schemas.microsoft.com/office/drawing/2014/main" id="{39A5128B-C2FB-4E8F-8E52-44EEC29EECDD}"/>
              </a:ext>
            </a:extLst>
          </p:cNvPr>
          <p:cNvGraphicFramePr>
            <a:graphicFrameLocks noGrp="1"/>
          </p:cNvGraphicFramePr>
          <p:nvPr>
            <p:extLst>
              <p:ext uri="{D42A27DB-BD31-4B8C-83A1-F6EECF244321}">
                <p14:modId xmlns:p14="http://schemas.microsoft.com/office/powerpoint/2010/main" val="294239199"/>
              </p:ext>
            </p:extLst>
          </p:nvPr>
        </p:nvGraphicFramePr>
        <p:xfrm>
          <a:off x="318053" y="1091646"/>
          <a:ext cx="11589029" cy="5386764"/>
        </p:xfrm>
        <a:graphic>
          <a:graphicData uri="http://schemas.openxmlformats.org/drawingml/2006/table">
            <a:tbl>
              <a:tblPr>
                <a:tableStyleId>{5C22544A-7EE6-4342-B048-85BDC9FD1C3A}</a:tableStyleId>
              </a:tblPr>
              <a:tblGrid>
                <a:gridCol w="552815">
                  <a:extLst>
                    <a:ext uri="{9D8B030D-6E8A-4147-A177-3AD203B41FA5}">
                      <a16:colId xmlns:a16="http://schemas.microsoft.com/office/drawing/2014/main" val="2178205083"/>
                    </a:ext>
                  </a:extLst>
                </a:gridCol>
                <a:gridCol w="1092811">
                  <a:extLst>
                    <a:ext uri="{9D8B030D-6E8A-4147-A177-3AD203B41FA5}">
                      <a16:colId xmlns:a16="http://schemas.microsoft.com/office/drawing/2014/main" val="2947758837"/>
                    </a:ext>
                  </a:extLst>
                </a:gridCol>
                <a:gridCol w="676199">
                  <a:extLst>
                    <a:ext uri="{9D8B030D-6E8A-4147-A177-3AD203B41FA5}">
                      <a16:colId xmlns:a16="http://schemas.microsoft.com/office/drawing/2014/main" val="4032774836"/>
                    </a:ext>
                  </a:extLst>
                </a:gridCol>
                <a:gridCol w="643276">
                  <a:extLst>
                    <a:ext uri="{9D8B030D-6E8A-4147-A177-3AD203B41FA5}">
                      <a16:colId xmlns:a16="http://schemas.microsoft.com/office/drawing/2014/main" val="2847322239"/>
                    </a:ext>
                  </a:extLst>
                </a:gridCol>
                <a:gridCol w="458379">
                  <a:extLst>
                    <a:ext uri="{9D8B030D-6E8A-4147-A177-3AD203B41FA5}">
                      <a16:colId xmlns:a16="http://schemas.microsoft.com/office/drawing/2014/main" val="2135156975"/>
                    </a:ext>
                  </a:extLst>
                </a:gridCol>
                <a:gridCol w="580661">
                  <a:extLst>
                    <a:ext uri="{9D8B030D-6E8A-4147-A177-3AD203B41FA5}">
                      <a16:colId xmlns:a16="http://schemas.microsoft.com/office/drawing/2014/main" val="55935345"/>
                    </a:ext>
                  </a:extLst>
                </a:gridCol>
                <a:gridCol w="653244">
                  <a:extLst>
                    <a:ext uri="{9D8B030D-6E8A-4147-A177-3AD203B41FA5}">
                      <a16:colId xmlns:a16="http://schemas.microsoft.com/office/drawing/2014/main" val="2821502173"/>
                    </a:ext>
                  </a:extLst>
                </a:gridCol>
                <a:gridCol w="558454">
                  <a:extLst>
                    <a:ext uri="{9D8B030D-6E8A-4147-A177-3AD203B41FA5}">
                      <a16:colId xmlns:a16="http://schemas.microsoft.com/office/drawing/2014/main" val="2353021179"/>
                    </a:ext>
                  </a:extLst>
                </a:gridCol>
                <a:gridCol w="593330">
                  <a:extLst>
                    <a:ext uri="{9D8B030D-6E8A-4147-A177-3AD203B41FA5}">
                      <a16:colId xmlns:a16="http://schemas.microsoft.com/office/drawing/2014/main" val="2031483084"/>
                    </a:ext>
                  </a:extLst>
                </a:gridCol>
                <a:gridCol w="844239">
                  <a:extLst>
                    <a:ext uri="{9D8B030D-6E8A-4147-A177-3AD203B41FA5}">
                      <a16:colId xmlns:a16="http://schemas.microsoft.com/office/drawing/2014/main" val="623145995"/>
                    </a:ext>
                  </a:extLst>
                </a:gridCol>
                <a:gridCol w="616952">
                  <a:extLst>
                    <a:ext uri="{9D8B030D-6E8A-4147-A177-3AD203B41FA5}">
                      <a16:colId xmlns:a16="http://schemas.microsoft.com/office/drawing/2014/main" val="2929049807"/>
                    </a:ext>
                  </a:extLst>
                </a:gridCol>
                <a:gridCol w="858894">
                  <a:extLst>
                    <a:ext uri="{9D8B030D-6E8A-4147-A177-3AD203B41FA5}">
                      <a16:colId xmlns:a16="http://schemas.microsoft.com/office/drawing/2014/main" val="1057449211"/>
                    </a:ext>
                  </a:extLst>
                </a:gridCol>
                <a:gridCol w="871626">
                  <a:extLst>
                    <a:ext uri="{9D8B030D-6E8A-4147-A177-3AD203B41FA5}">
                      <a16:colId xmlns:a16="http://schemas.microsoft.com/office/drawing/2014/main" val="2108561762"/>
                    </a:ext>
                  </a:extLst>
                </a:gridCol>
                <a:gridCol w="882455">
                  <a:extLst>
                    <a:ext uri="{9D8B030D-6E8A-4147-A177-3AD203B41FA5}">
                      <a16:colId xmlns:a16="http://schemas.microsoft.com/office/drawing/2014/main" val="2626662726"/>
                    </a:ext>
                  </a:extLst>
                </a:gridCol>
                <a:gridCol w="751534">
                  <a:extLst>
                    <a:ext uri="{9D8B030D-6E8A-4147-A177-3AD203B41FA5}">
                      <a16:colId xmlns:a16="http://schemas.microsoft.com/office/drawing/2014/main" val="2391936919"/>
                    </a:ext>
                  </a:extLst>
                </a:gridCol>
                <a:gridCol w="954160">
                  <a:extLst>
                    <a:ext uri="{9D8B030D-6E8A-4147-A177-3AD203B41FA5}">
                      <a16:colId xmlns:a16="http://schemas.microsoft.com/office/drawing/2014/main" val="761063069"/>
                    </a:ext>
                  </a:extLst>
                </a:gridCol>
              </a:tblGrid>
              <a:tr h="286926">
                <a:tc>
                  <a:txBody>
                    <a:bodyPr/>
                    <a:lstStyle/>
                    <a:p>
                      <a:pPr algn="l" fontAlgn="b"/>
                      <a:r>
                        <a:rPr lang="en-US" sz="800" b="1" u="none" strike="noStrike" dirty="0">
                          <a:effectLst/>
                        </a:rPr>
                        <a:t> ACCOUNT_NBR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CLAIM_LINE_ID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CUSTOMER_</a:t>
                      </a:r>
                    </a:p>
                    <a:p>
                      <a:pPr algn="l" fontAlgn="b"/>
                      <a:r>
                        <a:rPr lang="en-US" sz="800" b="1" u="none" strike="noStrike" dirty="0">
                          <a:effectLst/>
                        </a:rPr>
                        <a:t>ID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EPSM_</a:t>
                      </a:r>
                    </a:p>
                    <a:p>
                      <a:pPr algn="l" fontAlgn="b"/>
                      <a:r>
                        <a:rPr lang="en-US" sz="800" b="1" u="none" strike="noStrike" dirty="0">
                          <a:effectLst/>
                        </a:rPr>
                        <a:t>GROUP_NBR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FILE_ID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GROUP_</a:t>
                      </a:r>
                    </a:p>
                    <a:p>
                      <a:pPr algn="l" fontAlgn="b"/>
                      <a:r>
                        <a:rPr lang="en-US" sz="800" b="1" u="none" strike="noStrike" dirty="0">
                          <a:effectLst/>
                        </a:rPr>
                        <a:t>NBR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LAB_</a:t>
                      </a:r>
                    </a:p>
                    <a:p>
                      <a:pPr algn="l" fontAlgn="b"/>
                      <a:r>
                        <a:rPr lang="en-US" sz="800" b="1" u="none" strike="noStrike" dirty="0">
                          <a:effectLst/>
                        </a:rPr>
                        <a:t>CREATE_DT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LAB_</a:t>
                      </a:r>
                    </a:p>
                    <a:p>
                      <a:pPr algn="l" fontAlgn="b"/>
                      <a:r>
                        <a:rPr lang="en-US" sz="800" b="1" u="none" strike="noStrike" dirty="0">
                          <a:effectLst/>
                        </a:rPr>
                        <a:t>RESULT_</a:t>
                      </a:r>
                    </a:p>
                    <a:p>
                      <a:pPr algn="l" fontAlgn="b"/>
                      <a:r>
                        <a:rPr lang="en-US" sz="800" b="1" u="none" strike="noStrike" dirty="0">
                          <a:effectLst/>
                        </a:rPr>
                        <a:t>NBR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TYP_IND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LAB_RESULT_</a:t>
                      </a:r>
                    </a:p>
                    <a:p>
                      <a:pPr algn="l" fontAlgn="b"/>
                      <a:r>
                        <a:rPr lang="en-US" sz="800" b="1" u="none" strike="noStrike" dirty="0">
                          <a:effectLst/>
                        </a:rPr>
                        <a:t>SOURCE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LAB_</a:t>
                      </a:r>
                    </a:p>
                    <a:p>
                      <a:pPr algn="l" fontAlgn="b"/>
                      <a:r>
                        <a:rPr lang="en-US" sz="800" b="1" u="none" strike="noStrike" dirty="0">
                          <a:effectLst/>
                        </a:rPr>
                        <a:t>RESULT_</a:t>
                      </a:r>
                    </a:p>
                    <a:p>
                      <a:pPr algn="l" fontAlgn="b"/>
                      <a:r>
                        <a:rPr lang="en-US" sz="800" b="1" u="none" strike="noStrike" dirty="0">
                          <a:effectLst/>
                        </a:rPr>
                        <a:t>TXT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LAB_</a:t>
                      </a:r>
                    </a:p>
                    <a:p>
                      <a:pPr algn="l" fontAlgn="b"/>
                      <a:r>
                        <a:rPr lang="en-US" sz="800" b="1" u="none" strike="noStrike" dirty="0">
                          <a:effectLst/>
                        </a:rPr>
                        <a:t>RESULTS_ID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LAB_TEST_NM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MEMBER_ID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XTRNL_LAB_</a:t>
                      </a:r>
                    </a:p>
                    <a:p>
                      <a:pPr algn="l" fontAlgn="b"/>
                      <a:r>
                        <a:rPr lang="en-US" sz="800" b="1" u="none" strike="noStrike" dirty="0">
                          <a:effectLst/>
                        </a:rPr>
                        <a:t>LOINC_CD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tc>
                  <a:txBody>
                    <a:bodyPr/>
                    <a:lstStyle/>
                    <a:p>
                      <a:pPr algn="l" fontAlgn="b"/>
                      <a:r>
                        <a:rPr lang="en-US" sz="800" b="1" u="none" strike="noStrike" dirty="0">
                          <a:effectLst/>
                        </a:rPr>
                        <a:t>SRV_START_DT </a:t>
                      </a:r>
                      <a:endParaRPr lang="en-US" sz="800" b="1" i="0" u="none" strike="noStrike" dirty="0">
                        <a:solidFill>
                          <a:srgbClr val="000000"/>
                        </a:solidFill>
                        <a:effectLst/>
                        <a:latin typeface="Calibri" panose="020F0502020204030204" pitchFamily="34" charset="0"/>
                      </a:endParaRPr>
                    </a:p>
                  </a:txBody>
                  <a:tcPr marL="3224" marR="3224" marT="3224" marB="0" anchor="b">
                    <a:solidFill>
                      <a:schemeClr val="accent3">
                        <a:lumMod val="40000"/>
                        <a:lumOff val="60000"/>
                      </a:schemeClr>
                    </a:solidFill>
                  </a:tcPr>
                </a:tc>
                <a:extLst>
                  <a:ext uri="{0D108BD9-81ED-4DB2-BD59-A6C34878D82A}">
                    <a16:rowId xmlns:a16="http://schemas.microsoft.com/office/drawing/2014/main" val="2323744111"/>
                  </a:ext>
                </a:extLst>
              </a:tr>
              <a:tr h="145075">
                <a:tc>
                  <a:txBody>
                    <a:bodyPr/>
                    <a:lstStyle/>
                    <a:p>
                      <a:pPr algn="r" fontAlgn="b"/>
                      <a:r>
                        <a:rPr lang="en-US" sz="900" u="none" strike="noStrike" dirty="0">
                          <a:effectLst/>
                        </a:rPr>
                        <a:t>4</a:t>
                      </a:r>
                      <a:endParaRPr lang="en-US" sz="900" b="0" i="0" u="none" strike="noStrike" dirty="0">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40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37013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BASE EXCESS VENOU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dirty="0">
                          <a:effectLst/>
                        </a:rPr>
                        <a:t>3/29/2019</a:t>
                      </a:r>
                      <a:endParaRPr lang="en-US" sz="900" b="0" i="0" u="none" strike="noStrike" dirty="0">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705832345"/>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66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1.8</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3973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HEMOGLOBIN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dirty="0">
                          <a:effectLst/>
                        </a:rPr>
                        <a:t>3/29/2019</a:t>
                      </a:r>
                      <a:endParaRPr lang="en-US" sz="900" b="0" i="0" u="none" strike="noStrike" dirty="0">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500246639"/>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69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dirty="0">
                          <a:effectLst/>
                        </a:rPr>
                        <a:t>0</a:t>
                      </a:r>
                      <a:endParaRPr lang="en-US" sz="900" b="0" i="0" u="none" strike="noStrike" dirty="0">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4008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INDIRECT BILI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dirty="0">
                          <a:effectLst/>
                        </a:rPr>
                        <a:t>3/29/2019</a:t>
                      </a:r>
                      <a:endParaRPr lang="en-US" sz="900" b="0" i="0" u="none" strike="noStrike" dirty="0">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4108118255"/>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4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t Detec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4448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INFLUENZA-A.H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3674308835"/>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40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dirty="0">
                          <a:effectLst/>
                        </a:rPr>
                        <a:t>MM000071      </a:t>
                      </a:r>
                      <a:endParaRPr lang="en-US" sz="900" b="0" i="0" u="none" strike="noStrike" dirty="0">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4.6</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37113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BASE EXCESS VENOU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dirty="0">
                          <a:effectLst/>
                        </a:rPr>
                        <a:t>510770343725</a:t>
                      </a:r>
                      <a:endParaRPr lang="en-US" sz="900" b="0" i="0" u="none" strike="noStrike" dirty="0">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851925390"/>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43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88</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3738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CA ION AR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3099524785"/>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46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3768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CALCIUM LEVEL IONIZED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2952494042"/>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42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46963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dirty="0">
                          <a:effectLst/>
                        </a:rPr>
                        <a:t>PH VEN                             </a:t>
                      </a:r>
                      <a:endParaRPr lang="en-US" sz="900" b="0" i="0" u="none" strike="noStrike" dirty="0">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1737233944"/>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435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dirty="0">
                          <a:effectLst/>
                        </a:rPr>
                        <a:t>A                 </a:t>
                      </a:r>
                      <a:endParaRPr lang="en-US" sz="900" b="0" i="0" u="none" strike="noStrike" dirty="0">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t Detec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4793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RSV-B.(SSRNA) (RESUL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1546180869"/>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425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7.18</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4913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PH AR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2886736209"/>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76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4.1</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4098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O2HB VENOU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701062453"/>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89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dirty="0">
                          <a:effectLst/>
                        </a:rPr>
                        <a:t>3/31/2019</a:t>
                      </a:r>
                      <a:endParaRPr lang="en-US" sz="900" b="0" i="0" u="none" strike="noStrike" dirty="0">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4.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60213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POTASSIUM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468671560"/>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424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31/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6233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PCO2 AR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1630880602"/>
                  </a:ext>
                </a:extLst>
              </a:tr>
              <a:tr h="286926">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30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4/1/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28.48</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63063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 SEGMENTED NEUTROPHILS (MANUAL)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728111440"/>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7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SLIGH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41113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OVALOCYTE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59663058"/>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82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6.8</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4173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PHOSPHORU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2819474071"/>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413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31/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96.1</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3753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ASURED O2 SAT AR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1492907927"/>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43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93</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37413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CA ION ART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29/2019</a:t>
                      </a:r>
                      <a:endParaRPr lang="en-US" sz="900" b="0" i="0" u="none" strike="noStrike">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2918002013"/>
                  </a:ext>
                </a:extLst>
              </a:tr>
              <a:tr h="145075">
                <a:tc>
                  <a:txBody>
                    <a:bodyPr/>
                    <a:lstStyle/>
                    <a:p>
                      <a:pPr algn="r" fontAlgn="b"/>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1200460064398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007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M000071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868454</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3/31/2019</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0</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A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MEDEDS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50-100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164143818867</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C UA WB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a:effectLst/>
                        </a:rPr>
                        <a:t>510770343725</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l" fontAlgn="b"/>
                      <a:r>
                        <a:rPr lang="en-US" sz="900" u="none" strike="noStrike">
                          <a:effectLst/>
                        </a:rPr>
                        <a:t>NOLOINC           </a:t>
                      </a:r>
                      <a:endParaRPr lang="en-US" sz="900" b="0" i="0" u="none" strike="noStrike">
                        <a:solidFill>
                          <a:srgbClr val="000000"/>
                        </a:solidFill>
                        <a:effectLst/>
                        <a:latin typeface="Calibri" panose="020F0502020204030204" pitchFamily="34" charset="0"/>
                      </a:endParaRPr>
                    </a:p>
                  </a:txBody>
                  <a:tcPr marL="3224" marR="3224" marT="3224" marB="0" anchor="b"/>
                </a:tc>
                <a:tc>
                  <a:txBody>
                    <a:bodyPr/>
                    <a:lstStyle/>
                    <a:p>
                      <a:pPr algn="r" fontAlgn="b"/>
                      <a:r>
                        <a:rPr lang="en-US" sz="900" u="none" strike="noStrike" dirty="0">
                          <a:effectLst/>
                        </a:rPr>
                        <a:t>3/29/2019</a:t>
                      </a:r>
                      <a:endParaRPr lang="en-US" sz="900" b="0" i="0" u="none" strike="noStrike" dirty="0">
                        <a:solidFill>
                          <a:srgbClr val="000000"/>
                        </a:solidFill>
                        <a:effectLst/>
                        <a:latin typeface="Calibri" panose="020F0502020204030204" pitchFamily="34" charset="0"/>
                      </a:endParaRPr>
                    </a:p>
                  </a:txBody>
                  <a:tcPr marL="3224" marR="3224" marT="3224" marB="0" anchor="b"/>
                </a:tc>
                <a:extLst>
                  <a:ext uri="{0D108BD9-81ED-4DB2-BD59-A6C34878D82A}">
                    <a16:rowId xmlns:a16="http://schemas.microsoft.com/office/drawing/2014/main" val="2148482069"/>
                  </a:ext>
                </a:extLst>
              </a:tr>
            </a:tbl>
          </a:graphicData>
        </a:graphic>
      </p:graphicFrame>
    </p:spTree>
    <p:extLst>
      <p:ext uri="{BB962C8B-B14F-4D97-AF65-F5344CB8AC3E}">
        <p14:creationId xmlns:p14="http://schemas.microsoft.com/office/powerpoint/2010/main" val="19585266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cs typeface="Arial" panose="020B0604020202020204" pitchFamily="34" charset="0"/>
                <a:sym typeface="Arial" panose="020B0604020202020204" pitchFamily="34" charset="0"/>
              </a:rPr>
              <a:t>Business Opportunity</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latin typeface="+mj-lt"/>
                <a:cs typeface="Arial" panose="020B0604020202020204" pitchFamily="34" charset="0"/>
                <a:sym typeface="Arial" panose="020B0604020202020204" pitchFamily="34" charset="0"/>
              </a:rPr>
              <a:t>An External Data Index is a major opportunity for optimizing the process of purchasing and managing external data in CVS Health</a:t>
            </a:r>
          </a:p>
        </p:txBody>
      </p:sp>
      <p:sp>
        <p:nvSpPr>
          <p:cNvPr id="6" name="TextBox 5"/>
          <p:cNvSpPr txBox="1"/>
          <p:nvPr/>
        </p:nvSpPr>
        <p:spPr>
          <a:xfrm>
            <a:off x="557929" y="2700354"/>
            <a:ext cx="5970300" cy="2815105"/>
          </a:xfrm>
          <a:prstGeom prst="rect">
            <a:avLst/>
          </a:prstGeom>
          <a:solidFill>
            <a:schemeClr val="bg1"/>
          </a:solidFill>
        </p:spPr>
        <p:txBody>
          <a:bodyPr wrap="square" lIns="182832" tIns="0" rIns="182832" bIns="0" rtlCol="0" anchor="ctr">
            <a:noAutofit/>
          </a:bodyPr>
          <a:lstStyle/>
          <a:p>
            <a:pPr defTabSz="456621" fontAlgn="base">
              <a:lnSpc>
                <a:spcPct val="120000"/>
              </a:lnSpc>
              <a:spcBef>
                <a:spcPts val="1200"/>
              </a:spcBef>
            </a:pPr>
            <a:r>
              <a:rPr lang="en-US" sz="1999" b="1" i="1" dirty="0">
                <a:solidFill>
                  <a:schemeClr val="tx2"/>
                </a:solidFill>
                <a:cs typeface="Arial" panose="020B0604020202020204" pitchFamily="34" charset="0"/>
                <a:sym typeface="Arial" panose="020B0604020202020204" pitchFamily="34" charset="0"/>
              </a:rPr>
              <a:t>A new centralized and governed External Data Index of all data ingested from external partners would provide our Enterprise with a unified view of all external data intake across LOBs/departments and enable us to increase efficiencies when negotiating contracts with our partners in addition to reducing total cost of external data ownership by $24MM (at a minimum*)</a:t>
            </a:r>
          </a:p>
        </p:txBody>
      </p:sp>
      <p:cxnSp>
        <p:nvCxnSpPr>
          <p:cNvPr id="7" name="Straight Connector 6"/>
          <p:cNvCxnSpPr/>
          <p:nvPr/>
        </p:nvCxnSpPr>
        <p:spPr>
          <a:xfrm>
            <a:off x="561017" y="2053094"/>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125617" y="1913173"/>
            <a:ext cx="2729426"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a:solidFill>
                  <a:schemeClr val="tx2"/>
                </a:solidFill>
                <a:cs typeface="Arial" panose="020B0604020202020204" pitchFamily="34" charset="0"/>
                <a:sym typeface="Arial" panose="020B0604020202020204" pitchFamily="34" charset="0"/>
              </a:rPr>
              <a:t>Opportunity Statement</a:t>
            </a:r>
          </a:p>
        </p:txBody>
      </p:sp>
      <p:sp>
        <p:nvSpPr>
          <p:cNvPr id="9" name="TextBox 8"/>
          <p:cNvSpPr txBox="1"/>
          <p:nvPr/>
        </p:nvSpPr>
        <p:spPr>
          <a:xfrm>
            <a:off x="8819131" y="1913173"/>
            <a:ext cx="1400628"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a:solidFill>
                  <a:schemeClr val="tx2"/>
                </a:solidFill>
                <a:cs typeface="Arial" panose="020B0604020202020204" pitchFamily="34" charset="0"/>
                <a:sym typeface="Arial" panose="020B0604020202020204" pitchFamily="34" charset="0"/>
              </a:rPr>
              <a:t>Overview</a:t>
            </a:r>
          </a:p>
        </p:txBody>
      </p:sp>
      <p:sp>
        <p:nvSpPr>
          <p:cNvPr id="10" name="TextBox 9"/>
          <p:cNvSpPr txBox="1"/>
          <p:nvPr/>
        </p:nvSpPr>
        <p:spPr>
          <a:xfrm>
            <a:off x="7803702" y="2399838"/>
            <a:ext cx="4145130" cy="4164978"/>
          </a:xfrm>
          <a:prstGeom prst="rect">
            <a:avLst/>
          </a:prstGeom>
          <a:noFill/>
        </p:spPr>
        <p:txBody>
          <a:bodyPr wrap="square" lIns="0" tIns="0" rIns="0" bIns="0" rtlCol="0">
            <a:noAutofit/>
          </a:bodyPr>
          <a:lstStyle/>
          <a:p>
            <a:pPr marL="285664" indent="-285664" defTabSz="456621" fontAlgn="base">
              <a:spcBef>
                <a:spcPts val="1200"/>
              </a:spcBef>
              <a:buFont typeface="Arial" panose="020B0604020202020204" pitchFamily="34" charset="0"/>
              <a:buChar char="•"/>
            </a:pPr>
            <a:r>
              <a:rPr lang="en-US" sz="1500" dirty="0">
                <a:solidFill>
                  <a:schemeClr val="tx2"/>
                </a:solidFill>
                <a:cs typeface="Arial" panose="020B0604020202020204" pitchFamily="34" charset="0"/>
                <a:sym typeface="Arial" panose="020B0604020202020204" pitchFamily="34" charset="0"/>
              </a:rPr>
              <a:t>Engagement:</a:t>
            </a:r>
          </a:p>
          <a:p>
            <a:pPr marL="742727" lvl="1" indent="-285664" defTabSz="456621" fontAlgn="base">
              <a:spcBef>
                <a:spcPts val="1200"/>
              </a:spcBef>
              <a:buFont typeface="Arial" panose="020B0604020202020204" pitchFamily="34" charset="0"/>
              <a:buChar char="•"/>
            </a:pPr>
            <a:r>
              <a:rPr lang="en-US" sz="1500" dirty="0">
                <a:solidFill>
                  <a:schemeClr val="tx2"/>
                </a:solidFill>
                <a:cs typeface="Arial" panose="020B0604020202020204" pitchFamily="34" charset="0"/>
                <a:sym typeface="Arial" panose="020B0604020202020204" pitchFamily="34" charset="0"/>
              </a:rPr>
              <a:t>Provide an indexed 360° view of external data to engage consumers based on timely and accurate information</a:t>
            </a:r>
          </a:p>
          <a:p>
            <a:pPr marL="285664" indent="-285664" defTabSz="456621" fontAlgn="base">
              <a:spcBef>
                <a:spcPts val="1200"/>
              </a:spcBef>
              <a:buFont typeface="Arial" panose="020B0604020202020204" pitchFamily="34" charset="0"/>
              <a:buChar char="•"/>
            </a:pPr>
            <a:r>
              <a:rPr lang="en-US" sz="1500" dirty="0">
                <a:solidFill>
                  <a:schemeClr val="tx2"/>
                </a:solidFill>
                <a:cs typeface="Arial" panose="020B0604020202020204" pitchFamily="34" charset="0"/>
                <a:sym typeface="Arial" panose="020B0604020202020204" pitchFamily="34" charset="0"/>
              </a:rPr>
              <a:t>Business Operations:</a:t>
            </a:r>
          </a:p>
          <a:p>
            <a:pPr marL="742727" lvl="1" indent="-285664" defTabSz="456621" fontAlgn="base">
              <a:spcBef>
                <a:spcPts val="1200"/>
              </a:spcBef>
              <a:buFont typeface="Arial" panose="020B0604020202020204" pitchFamily="34" charset="0"/>
              <a:buChar char="•"/>
            </a:pPr>
            <a:r>
              <a:rPr lang="en-US" sz="1500" dirty="0">
                <a:solidFill>
                  <a:schemeClr val="tx2"/>
                </a:solidFill>
                <a:cs typeface="Arial" panose="020B0604020202020204" pitchFamily="34" charset="0"/>
                <a:sym typeface="Arial" panose="020B0604020202020204" pitchFamily="34" charset="0"/>
              </a:rPr>
              <a:t>Achieve efficiencies of scale by eliminating complexities and high costs of duplicate external data, from an ingestion and storage perspective</a:t>
            </a:r>
          </a:p>
          <a:p>
            <a:pPr marL="285664" indent="-285664" defTabSz="456621" fontAlgn="base">
              <a:spcBef>
                <a:spcPts val="1200"/>
              </a:spcBef>
              <a:buFont typeface="Arial" panose="020B0604020202020204" pitchFamily="34" charset="0"/>
              <a:buChar char="•"/>
            </a:pPr>
            <a:r>
              <a:rPr lang="en-US" sz="1500" dirty="0">
                <a:solidFill>
                  <a:schemeClr val="tx2"/>
                </a:solidFill>
                <a:cs typeface="Arial" panose="020B0604020202020204" pitchFamily="34" charset="0"/>
                <a:sym typeface="Arial" panose="020B0604020202020204" pitchFamily="34" charset="0"/>
              </a:rPr>
              <a:t>Insights:</a:t>
            </a:r>
          </a:p>
          <a:p>
            <a:pPr marL="742727" lvl="1" indent="-285664" defTabSz="456621" fontAlgn="base">
              <a:spcBef>
                <a:spcPts val="1200"/>
              </a:spcBef>
              <a:buFont typeface="Arial" panose="020B0604020202020204" pitchFamily="34" charset="0"/>
              <a:buChar char="•"/>
            </a:pPr>
            <a:r>
              <a:rPr lang="en-US" sz="1500" dirty="0">
                <a:solidFill>
                  <a:schemeClr val="tx2"/>
                </a:solidFill>
                <a:cs typeface="Arial" panose="020B0604020202020204" pitchFamily="34" charset="0"/>
                <a:sym typeface="Arial" panose="020B0604020202020204" pitchFamily="34" charset="0"/>
              </a:rPr>
              <a:t>Provide insight into best opportunities for negotiation of partner contracts and external data acquisition</a:t>
            </a:r>
            <a:endParaRPr lang="en-US" sz="1500" dirty="0">
              <a:solidFill>
                <a:schemeClr val="tx2"/>
              </a:solidFill>
              <a:cs typeface="Open Sans Light"/>
            </a:endParaRPr>
          </a:p>
        </p:txBody>
      </p:sp>
      <p:grpSp>
        <p:nvGrpSpPr>
          <p:cNvPr id="11" name="Group 10"/>
          <p:cNvGrpSpPr/>
          <p:nvPr/>
        </p:nvGrpSpPr>
        <p:grpSpPr>
          <a:xfrm>
            <a:off x="7539279" y="5304204"/>
            <a:ext cx="459685" cy="459685"/>
            <a:chOff x="357728" y="3202576"/>
            <a:chExt cx="469232" cy="469232"/>
          </a:xfrm>
          <a:effectLst>
            <a:outerShdw blurRad="63500" sx="105000" sy="105000" algn="ctr" rotWithShape="0">
              <a:prstClr val="black">
                <a:alpha val="20000"/>
              </a:prstClr>
            </a:outerShdw>
          </a:effectLst>
        </p:grpSpPr>
        <p:sp>
          <p:nvSpPr>
            <p:cNvPr id="12" name="Oval 11"/>
            <p:cNvSpPr/>
            <p:nvPr/>
          </p:nvSpPr>
          <p:spPr>
            <a:xfrm>
              <a:off x="357728" y="3202576"/>
              <a:ext cx="469232" cy="469232"/>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Freeform 4958"/>
            <p:cNvSpPr>
              <a:spLocks noEditPoints="1"/>
            </p:cNvSpPr>
            <p:nvPr/>
          </p:nvSpPr>
          <p:spPr bwMode="auto">
            <a:xfrm>
              <a:off x="427360" y="3263526"/>
              <a:ext cx="342148" cy="33388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4" name="Group 13"/>
          <p:cNvGrpSpPr/>
          <p:nvPr/>
        </p:nvGrpSpPr>
        <p:grpSpPr>
          <a:xfrm>
            <a:off x="7474670" y="3833042"/>
            <a:ext cx="459685" cy="459685"/>
            <a:chOff x="7573215" y="2258092"/>
            <a:chExt cx="612000" cy="612000"/>
          </a:xfrm>
        </p:grpSpPr>
        <p:sp>
          <p:nvSpPr>
            <p:cNvPr id="15" name="Oval 14"/>
            <p:cNvSpPr/>
            <p:nvPr/>
          </p:nvSpPr>
          <p:spPr bwMode="ltGray">
            <a:xfrm>
              <a:off x="7573215" y="2258092"/>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6" name="Group 15"/>
            <p:cNvGrpSpPr/>
            <p:nvPr/>
          </p:nvGrpSpPr>
          <p:grpSpPr>
            <a:xfrm>
              <a:off x="7642971" y="2426134"/>
              <a:ext cx="472489" cy="281071"/>
              <a:chOff x="7646776" y="2426134"/>
              <a:chExt cx="472489" cy="281071"/>
            </a:xfrm>
          </p:grpSpPr>
          <p:sp>
            <p:nvSpPr>
              <p:cNvPr id="17" name="Freeform 4862"/>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8" name="Freeform 4863"/>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9" name="Freeform 4864"/>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0" name="Freeform 4865"/>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1" name="Freeform 4866"/>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2" name="Freeform 4867"/>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3" name="Freeform 4868"/>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grpSp>
      <p:grpSp>
        <p:nvGrpSpPr>
          <p:cNvPr id="24" name="Group 23"/>
          <p:cNvGrpSpPr/>
          <p:nvPr/>
        </p:nvGrpSpPr>
        <p:grpSpPr>
          <a:xfrm>
            <a:off x="7463192" y="2399837"/>
            <a:ext cx="459685" cy="459685"/>
            <a:chOff x="2342233" y="4690710"/>
            <a:chExt cx="612000" cy="612000"/>
          </a:xfrm>
        </p:grpSpPr>
        <p:sp>
          <p:nvSpPr>
            <p:cNvPr id="25" name="Oval 24"/>
            <p:cNvSpPr/>
            <p:nvPr/>
          </p:nvSpPr>
          <p:spPr bwMode="ltGray">
            <a:xfrm>
              <a:off x="2342233" y="4690710"/>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6" name="Freeform 4985"/>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39531" y="2716923"/>
            <a:ext cx="294629" cy="2817124"/>
          </a:xfrm>
          <a:prstGeom prst="rect">
            <a:avLst/>
          </a:prstGeom>
        </p:spPr>
      </p:pic>
      <p:sp>
        <p:nvSpPr>
          <p:cNvPr id="5" name="TextBox 4">
            <a:extLst>
              <a:ext uri="{FF2B5EF4-FFF2-40B4-BE49-F238E27FC236}">
                <a16:creationId xmlns:a16="http://schemas.microsoft.com/office/drawing/2014/main" id="{2D69D40E-EDE9-471D-B9ED-C7524629D0CF}"/>
              </a:ext>
            </a:extLst>
          </p:cNvPr>
          <p:cNvSpPr txBox="1"/>
          <p:nvPr/>
        </p:nvSpPr>
        <p:spPr>
          <a:xfrm>
            <a:off x="4551603" y="6621478"/>
            <a:ext cx="3303790" cy="153888"/>
          </a:xfrm>
          <a:prstGeom prst="rect">
            <a:avLst/>
          </a:prstGeom>
          <a:noFill/>
        </p:spPr>
        <p:txBody>
          <a:bodyPr wrap="none" lIns="0" tIns="0" rIns="0" bIns="0" rtlCol="0">
            <a:spAutoFit/>
          </a:bodyPr>
          <a:lstStyle/>
          <a:p>
            <a:r>
              <a:rPr lang="en-US" sz="1000" dirty="0">
                <a:solidFill>
                  <a:schemeClr val="tx2"/>
                </a:solidFill>
              </a:rPr>
              <a:t>*Please see Appendix for </a:t>
            </a:r>
            <a:r>
              <a:rPr lang="en-US" sz="1000" dirty="0">
                <a:solidFill>
                  <a:schemeClr val="tx2"/>
                </a:solidFill>
                <a:hlinkClick r:id="rId8" action="ppaction://hlinksldjump"/>
              </a:rPr>
              <a:t>Estimated Savings calculation</a:t>
            </a:r>
            <a:endParaRPr lang="en-US" sz="1000" dirty="0">
              <a:solidFill>
                <a:schemeClr val="tx2"/>
              </a:solidFill>
            </a:endParaRPr>
          </a:p>
        </p:txBody>
      </p:sp>
    </p:spTree>
    <p:extLst>
      <p:ext uri="{BB962C8B-B14F-4D97-AF65-F5344CB8AC3E}">
        <p14:creationId xmlns:p14="http://schemas.microsoft.com/office/powerpoint/2010/main" val="38876871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EAB9A-4052-4EF4-B24B-BD317033D159}"/>
              </a:ext>
            </a:extLst>
          </p:cNvPr>
          <p:cNvSpPr>
            <a:spLocks noGrp="1"/>
          </p:cNvSpPr>
          <p:nvPr>
            <p:ph type="title"/>
          </p:nvPr>
        </p:nvSpPr>
        <p:spPr/>
        <p:txBody>
          <a:bodyPr/>
          <a:lstStyle/>
          <a:p>
            <a:r>
              <a:rPr lang="en-US" dirty="0"/>
              <a:t>Use Case 3 – External Data Index Fields</a:t>
            </a:r>
          </a:p>
        </p:txBody>
      </p:sp>
      <p:sp>
        <p:nvSpPr>
          <p:cNvPr id="3" name="Content Placeholder 2">
            <a:extLst>
              <a:ext uri="{FF2B5EF4-FFF2-40B4-BE49-F238E27FC236}">
                <a16:creationId xmlns:a16="http://schemas.microsoft.com/office/drawing/2014/main" id="{A2A7ACBE-BDCD-4F26-956E-BBAF98176ED7}"/>
              </a:ext>
            </a:extLst>
          </p:cNvPr>
          <p:cNvSpPr>
            <a:spLocks noGrp="1"/>
          </p:cNvSpPr>
          <p:nvPr>
            <p:ph sz="half" idx="1"/>
          </p:nvPr>
        </p:nvSpPr>
        <p:spPr>
          <a:xfrm>
            <a:off x="557929" y="1351718"/>
            <a:ext cx="5238478" cy="5204527"/>
          </a:xfrm>
        </p:spPr>
        <p:txBody>
          <a:bodyPr/>
          <a:lstStyle/>
          <a:p>
            <a:r>
              <a:rPr lang="en-US" dirty="0"/>
              <a:t>Lab Results Business Key   </a:t>
            </a:r>
          </a:p>
          <a:p>
            <a:endParaRPr lang="en-US" dirty="0"/>
          </a:p>
          <a:p>
            <a:endParaRPr lang="en-US" dirty="0"/>
          </a:p>
        </p:txBody>
      </p:sp>
      <p:sp>
        <p:nvSpPr>
          <p:cNvPr id="4" name="Content Placeholder 3">
            <a:extLst>
              <a:ext uri="{FF2B5EF4-FFF2-40B4-BE49-F238E27FC236}">
                <a16:creationId xmlns:a16="http://schemas.microsoft.com/office/drawing/2014/main" id="{3391FEEF-F27B-41D9-B582-F93BB491DB23}"/>
              </a:ext>
            </a:extLst>
          </p:cNvPr>
          <p:cNvSpPr>
            <a:spLocks noGrp="1"/>
          </p:cNvSpPr>
          <p:nvPr>
            <p:ph sz="half" idx="10"/>
          </p:nvPr>
        </p:nvSpPr>
        <p:spPr>
          <a:xfrm>
            <a:off x="6453747" y="1351718"/>
            <a:ext cx="5401921" cy="5204527"/>
          </a:xfrm>
        </p:spPr>
        <p:txBody>
          <a:bodyPr/>
          <a:lstStyle/>
          <a:p>
            <a:r>
              <a:rPr lang="en-US" dirty="0"/>
              <a:t>External Data Index Fields</a:t>
            </a:r>
          </a:p>
          <a:p>
            <a:r>
              <a:rPr lang="en-US" sz="1400" dirty="0"/>
              <a:t>Business Keys:</a:t>
            </a:r>
          </a:p>
          <a:p>
            <a:pPr marL="285750" indent="-285750">
              <a:buFont typeface="Arial" panose="020B0604020202020204" pitchFamily="34" charset="0"/>
              <a:buChar char="•"/>
            </a:pPr>
            <a:r>
              <a:rPr lang="en-US" sz="1400" dirty="0"/>
              <a:t>MEMBER_ID</a:t>
            </a:r>
          </a:p>
          <a:p>
            <a:pPr marL="285750" indent="-285750">
              <a:buFont typeface="Arial" panose="020B0604020202020204" pitchFamily="34" charset="0"/>
              <a:buChar char="•"/>
            </a:pPr>
            <a:r>
              <a:rPr lang="en-US" sz="1400" dirty="0"/>
              <a:t>SRV_START_DT</a:t>
            </a:r>
          </a:p>
          <a:p>
            <a:pPr marL="285750" indent="-285750">
              <a:buFont typeface="Arial" panose="020B0604020202020204" pitchFamily="34" charset="0"/>
              <a:buChar char="•"/>
            </a:pPr>
            <a:r>
              <a:rPr lang="en-US" sz="1400" dirty="0"/>
              <a:t>VENDOR_ID</a:t>
            </a:r>
          </a:p>
          <a:p>
            <a:pPr marL="285750" indent="-285750">
              <a:buFont typeface="Arial" panose="020B0604020202020204" pitchFamily="34" charset="0"/>
              <a:buChar char="•"/>
            </a:pPr>
            <a:r>
              <a:rPr lang="en-US" sz="1400" dirty="0"/>
              <a:t>XTRNL_LAB_LOINC_CD</a:t>
            </a:r>
          </a:p>
          <a:p>
            <a:r>
              <a:rPr lang="en-US" sz="1400" dirty="0"/>
              <a:t>Same as before, we will store the core descriptive fields:</a:t>
            </a:r>
          </a:p>
          <a:p>
            <a:pPr marL="285750" indent="-285750">
              <a:buFont typeface="Arial" panose="020B0604020202020204" pitchFamily="34" charset="0"/>
              <a:buChar char="•"/>
            </a:pPr>
            <a:r>
              <a:rPr lang="en-US" sz="1400" dirty="0"/>
              <a:t>DATA_SOURCE</a:t>
            </a:r>
          </a:p>
          <a:p>
            <a:pPr marL="285750" indent="-285750">
              <a:buFont typeface="Arial" panose="020B0604020202020204" pitchFamily="34" charset="0"/>
              <a:buChar char="•"/>
            </a:pPr>
            <a:r>
              <a:rPr lang="en-US" sz="1400" dirty="0"/>
              <a:t>COMMENTS</a:t>
            </a:r>
          </a:p>
          <a:p>
            <a:pPr marL="285750" indent="-285750">
              <a:buFont typeface="Arial" panose="020B0604020202020204" pitchFamily="34" charset="0"/>
              <a:buChar char="•"/>
            </a:pPr>
            <a:r>
              <a:rPr lang="en-US" sz="1400" dirty="0"/>
              <a:t>DISPOSITION</a:t>
            </a:r>
          </a:p>
          <a:p>
            <a:endParaRPr lang="en-US" dirty="0"/>
          </a:p>
        </p:txBody>
      </p:sp>
      <p:graphicFrame>
        <p:nvGraphicFramePr>
          <p:cNvPr id="6" name="Table 5">
            <a:extLst>
              <a:ext uri="{FF2B5EF4-FFF2-40B4-BE49-F238E27FC236}">
                <a16:creationId xmlns:a16="http://schemas.microsoft.com/office/drawing/2014/main" id="{41CAD8A0-253E-4F00-8BCF-B2E019DCD39F}"/>
              </a:ext>
            </a:extLst>
          </p:cNvPr>
          <p:cNvGraphicFramePr>
            <a:graphicFrameLocks noGrp="1"/>
          </p:cNvGraphicFramePr>
          <p:nvPr>
            <p:extLst>
              <p:ext uri="{D42A27DB-BD31-4B8C-83A1-F6EECF244321}">
                <p14:modId xmlns:p14="http://schemas.microsoft.com/office/powerpoint/2010/main" val="114145270"/>
              </p:ext>
            </p:extLst>
          </p:nvPr>
        </p:nvGraphicFramePr>
        <p:xfrm>
          <a:off x="557929" y="1790218"/>
          <a:ext cx="5238478" cy="2926080"/>
        </p:xfrm>
        <a:graphic>
          <a:graphicData uri="http://schemas.openxmlformats.org/drawingml/2006/table">
            <a:tbl>
              <a:tblPr>
                <a:tableStyleId>{5C22544A-7EE6-4342-B048-85BDC9FD1C3A}</a:tableStyleId>
              </a:tblPr>
              <a:tblGrid>
                <a:gridCol w="1548214">
                  <a:extLst>
                    <a:ext uri="{9D8B030D-6E8A-4147-A177-3AD203B41FA5}">
                      <a16:colId xmlns:a16="http://schemas.microsoft.com/office/drawing/2014/main" val="3287878851"/>
                    </a:ext>
                  </a:extLst>
                </a:gridCol>
                <a:gridCol w="1654256">
                  <a:extLst>
                    <a:ext uri="{9D8B030D-6E8A-4147-A177-3AD203B41FA5}">
                      <a16:colId xmlns:a16="http://schemas.microsoft.com/office/drawing/2014/main" val="1251800790"/>
                    </a:ext>
                  </a:extLst>
                </a:gridCol>
                <a:gridCol w="1018004">
                  <a:extLst>
                    <a:ext uri="{9D8B030D-6E8A-4147-A177-3AD203B41FA5}">
                      <a16:colId xmlns:a16="http://schemas.microsoft.com/office/drawing/2014/main" val="628478642"/>
                    </a:ext>
                  </a:extLst>
                </a:gridCol>
                <a:gridCol w="1018004">
                  <a:extLst>
                    <a:ext uri="{9D8B030D-6E8A-4147-A177-3AD203B41FA5}">
                      <a16:colId xmlns:a16="http://schemas.microsoft.com/office/drawing/2014/main" val="2063862993"/>
                    </a:ext>
                  </a:extLst>
                </a:gridCol>
              </a:tblGrid>
              <a:tr h="548640">
                <a:tc>
                  <a:txBody>
                    <a:bodyPr/>
                    <a:lstStyle/>
                    <a:p>
                      <a:pPr algn="l" fontAlgn="b"/>
                      <a:r>
                        <a:rPr lang="en-US" sz="1100" b="1" u="none" strike="noStrike">
                          <a:effectLst/>
                        </a:rPr>
                        <a:t>MEMBER_ID    </a:t>
                      </a:r>
                      <a:endParaRPr lang="en-US" sz="1100" b="1" i="0" u="none" strike="noStrike">
                        <a:solidFill>
                          <a:srgbClr val="000000"/>
                        </a:solidFill>
                        <a:effectLst/>
                        <a:latin typeface="Calibri" panose="020F0502020204030204" pitchFamily="34" charset="0"/>
                      </a:endParaRPr>
                    </a:p>
                  </a:txBody>
                  <a:tcPr marL="7620" marR="7620" marT="7620" marB="0" anchor="b">
                    <a:solidFill>
                      <a:schemeClr val="accent3">
                        <a:lumMod val="40000"/>
                        <a:lumOff val="60000"/>
                      </a:schemeClr>
                    </a:solidFill>
                  </a:tcPr>
                </a:tc>
                <a:tc>
                  <a:txBody>
                    <a:bodyPr/>
                    <a:lstStyle/>
                    <a:p>
                      <a:pPr algn="l" fontAlgn="b"/>
                      <a:r>
                        <a:rPr lang="en-US" sz="1100" b="1" u="none" strike="noStrike" dirty="0">
                          <a:effectLst/>
                        </a:rPr>
                        <a:t>SRV_START_DT </a:t>
                      </a:r>
                      <a:endParaRPr lang="en-US" sz="1100" b="1" i="0" u="none" strike="noStrike" dirty="0">
                        <a:solidFill>
                          <a:srgbClr val="000000"/>
                        </a:solidFill>
                        <a:effectLst/>
                        <a:latin typeface="Calibri" panose="020F0502020204030204" pitchFamily="34" charset="0"/>
                      </a:endParaRPr>
                    </a:p>
                  </a:txBody>
                  <a:tcPr marL="7620" marR="7620" marT="7620" marB="0" anchor="b">
                    <a:solidFill>
                      <a:schemeClr val="accent3">
                        <a:lumMod val="40000"/>
                        <a:lumOff val="60000"/>
                      </a:schemeClr>
                    </a:solidFill>
                  </a:tcPr>
                </a:tc>
                <a:tc>
                  <a:txBody>
                    <a:bodyPr/>
                    <a:lstStyle/>
                    <a:p>
                      <a:pPr algn="l" fontAlgn="b"/>
                      <a:r>
                        <a:rPr lang="en-US" sz="1100" b="1" u="none" strike="noStrike" dirty="0">
                          <a:effectLst/>
                        </a:rPr>
                        <a:t>LAB_</a:t>
                      </a:r>
                    </a:p>
                    <a:p>
                      <a:pPr algn="l" fontAlgn="b"/>
                      <a:r>
                        <a:rPr lang="en-US" sz="1100" b="1" u="none" strike="noStrike" dirty="0">
                          <a:effectLst/>
                        </a:rPr>
                        <a:t>RESULT_NBR </a:t>
                      </a:r>
                      <a:endParaRPr lang="en-US" sz="1100" b="1" i="0" u="none" strike="noStrike" dirty="0">
                        <a:solidFill>
                          <a:srgbClr val="000000"/>
                        </a:solidFill>
                        <a:effectLst/>
                        <a:latin typeface="Calibri" panose="020F0502020204030204" pitchFamily="34" charset="0"/>
                      </a:endParaRPr>
                    </a:p>
                  </a:txBody>
                  <a:tcPr marL="7620" marR="7620" marT="7620" marB="0" anchor="b">
                    <a:solidFill>
                      <a:schemeClr val="accent3">
                        <a:lumMod val="40000"/>
                        <a:lumOff val="60000"/>
                      </a:schemeClr>
                    </a:solidFill>
                  </a:tcPr>
                </a:tc>
                <a:tc>
                  <a:txBody>
                    <a:bodyPr/>
                    <a:lstStyle/>
                    <a:p>
                      <a:pPr algn="l" fontAlgn="b"/>
                      <a:r>
                        <a:rPr lang="en-US" sz="1100" b="1" u="none" strike="noStrike" dirty="0">
                          <a:effectLst/>
                        </a:rPr>
                        <a:t>XTRNL_LAB_</a:t>
                      </a:r>
                    </a:p>
                    <a:p>
                      <a:pPr algn="l" fontAlgn="b"/>
                      <a:r>
                        <a:rPr lang="en-US" sz="1100" b="1" u="none" strike="noStrike" dirty="0">
                          <a:effectLst/>
                        </a:rPr>
                        <a:t>LOINC_CD </a:t>
                      </a:r>
                      <a:endParaRPr lang="en-US" sz="1100" b="1" i="0" u="none" strike="noStrike" dirty="0">
                        <a:solidFill>
                          <a:srgbClr val="000000"/>
                        </a:solidFill>
                        <a:effectLst/>
                        <a:latin typeface="Calibri" panose="020F0502020204030204" pitchFamily="34" charset="0"/>
                      </a:endParaRPr>
                    </a:p>
                  </a:txBody>
                  <a:tcPr marL="7620" marR="7620" marT="7620" marB="0" anchor="b">
                    <a:solidFill>
                      <a:schemeClr val="accent3">
                        <a:lumMod val="40000"/>
                        <a:lumOff val="60000"/>
                      </a:schemeClr>
                    </a:solidFill>
                  </a:tcPr>
                </a:tc>
                <a:extLst>
                  <a:ext uri="{0D108BD9-81ED-4DB2-BD59-A6C34878D82A}">
                    <a16:rowId xmlns:a16="http://schemas.microsoft.com/office/drawing/2014/main" val="3276493852"/>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6</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648430541"/>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461175765"/>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38410250"/>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303090944"/>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34573993"/>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28635389"/>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570002556"/>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22360162"/>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4</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223784201"/>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006634464"/>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3</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676250484"/>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74</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a:effectLst/>
                        </a:rPr>
                        <a:t>NOLOINC           </a:t>
                      </a:r>
                      <a:endParaRPr lang="en-US"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217750130"/>
                  </a:ext>
                </a:extLst>
              </a:tr>
              <a:tr h="182880">
                <a:tc>
                  <a:txBody>
                    <a:bodyPr/>
                    <a:lstStyle/>
                    <a:p>
                      <a:pPr algn="r" fontAlgn="b"/>
                      <a:r>
                        <a:rPr lang="en-US" sz="1100" u="none" strike="noStrike">
                          <a:effectLst/>
                        </a:rPr>
                        <a:t>510770343725</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29/201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US" sz="1100" u="none" strike="noStrike">
                          <a:effectLst/>
                        </a:rPr>
                        <a:t>34</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US" sz="1100" u="none" strike="noStrike" dirty="0">
                          <a:effectLst/>
                        </a:rPr>
                        <a:t>NOLOINC           </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732756781"/>
                  </a:ext>
                </a:extLst>
              </a:tr>
            </a:tbl>
          </a:graphicData>
        </a:graphic>
      </p:graphicFrame>
    </p:spTree>
    <p:extLst>
      <p:ext uri="{BB962C8B-B14F-4D97-AF65-F5344CB8AC3E}">
        <p14:creationId xmlns:p14="http://schemas.microsoft.com/office/powerpoint/2010/main" val="24277083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graphicFrame>
        <p:nvGraphicFramePr>
          <p:cNvPr id="5" name="Content Placeholder 3">
            <a:extLst>
              <a:ext uri="{FF2B5EF4-FFF2-40B4-BE49-F238E27FC236}">
                <a16:creationId xmlns:a16="http://schemas.microsoft.com/office/drawing/2014/main" id="{70F9371E-F78A-4060-92E1-259C0C348C60}"/>
              </a:ext>
            </a:extLst>
          </p:cNvPr>
          <p:cNvGraphicFramePr>
            <a:graphicFrameLocks/>
          </p:cNvGraphicFramePr>
          <p:nvPr>
            <p:extLst>
              <p:ext uri="{D42A27DB-BD31-4B8C-83A1-F6EECF244321}">
                <p14:modId xmlns:p14="http://schemas.microsoft.com/office/powerpoint/2010/main" val="2386545734"/>
              </p:ext>
            </p:extLst>
          </p:nvPr>
        </p:nvGraphicFramePr>
        <p:xfrm>
          <a:off x="557929" y="1523107"/>
          <a:ext cx="11290538" cy="5171072"/>
        </p:xfrm>
        <a:graphic>
          <a:graphicData uri="http://schemas.openxmlformats.org/drawingml/2006/table">
            <a:tbl>
              <a:tblPr firstRow="1" bandRow="1">
                <a:tableStyleId>{D27102A9-8310-4765-A935-A1911B00CA55}</a:tableStyleId>
              </a:tblPr>
              <a:tblGrid>
                <a:gridCol w="1629349">
                  <a:extLst>
                    <a:ext uri="{9D8B030D-6E8A-4147-A177-3AD203B41FA5}">
                      <a16:colId xmlns:a16="http://schemas.microsoft.com/office/drawing/2014/main" val="2998932126"/>
                    </a:ext>
                  </a:extLst>
                </a:gridCol>
                <a:gridCol w="1639287">
                  <a:extLst>
                    <a:ext uri="{9D8B030D-6E8A-4147-A177-3AD203B41FA5}">
                      <a16:colId xmlns:a16="http://schemas.microsoft.com/office/drawing/2014/main" val="3936399913"/>
                    </a:ext>
                  </a:extLst>
                </a:gridCol>
                <a:gridCol w="7813670">
                  <a:extLst>
                    <a:ext uri="{9D8B030D-6E8A-4147-A177-3AD203B41FA5}">
                      <a16:colId xmlns:a16="http://schemas.microsoft.com/office/drawing/2014/main" val="1079170161"/>
                    </a:ext>
                  </a:extLst>
                </a:gridCol>
                <a:gridCol w="208232">
                  <a:extLst>
                    <a:ext uri="{9D8B030D-6E8A-4147-A177-3AD203B41FA5}">
                      <a16:colId xmlns:a16="http://schemas.microsoft.com/office/drawing/2014/main" val="1507630419"/>
                    </a:ext>
                  </a:extLst>
                </a:gridCol>
              </a:tblGrid>
              <a:tr h="276446">
                <a:tc gridSpan="2">
                  <a:txBody>
                    <a:bodyPr/>
                    <a:lstStyle/>
                    <a:p>
                      <a:pPr algn="ctr"/>
                      <a:r>
                        <a:rPr lang="en-US" sz="1400" b="1" dirty="0">
                          <a:solidFill>
                            <a:schemeClr val="bg1"/>
                          </a:solidFill>
                          <a:latin typeface="+mn-lt"/>
                          <a:cs typeface="Arial" panose="020B0604020202020204" pitchFamily="34" charset="0"/>
                          <a:sym typeface="Arial" panose="020B0604020202020204" pitchFamily="34" charset="0"/>
                        </a:rPr>
                        <a:t>Term or Index Field</a:t>
                      </a:r>
                    </a:p>
                  </a:txBody>
                  <a:tcPr marL="91416" marR="91416" marT="45708" marB="45708" anchor="ctr">
                    <a:lnL>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a:p>
                  </a:txBody>
                  <a:tcPr/>
                </a:tc>
                <a:tc gridSpan="2">
                  <a:txBody>
                    <a:bodyPr/>
                    <a:lstStyle/>
                    <a:p>
                      <a:pPr algn="ctr"/>
                      <a:r>
                        <a:rPr lang="en-US" sz="1400" b="1" strike="noStrike" dirty="0">
                          <a:solidFill>
                            <a:schemeClr val="bg1"/>
                          </a:solidFill>
                          <a:latin typeface="+mn-lt"/>
                          <a:cs typeface="Arial" panose="020B0604020202020204" pitchFamily="34" charset="0"/>
                          <a:sym typeface="Arial" panose="020B0604020202020204" pitchFamily="34" charset="0"/>
                        </a:rPr>
                        <a:t>Definition</a:t>
                      </a:r>
                    </a:p>
                  </a:txBody>
                  <a:tcPr marL="91416" marR="91416" marT="45708" marB="45708" anchor="ctr">
                    <a:lnL>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a:p>
                  </a:txBody>
                  <a:tcPr>
                    <a:lnL>
                      <a:noFill/>
                    </a:lnL>
                  </a:tcPr>
                </a:tc>
                <a:extLst>
                  <a:ext uri="{0D108BD9-81ED-4DB2-BD59-A6C34878D82A}">
                    <a16:rowId xmlns:a16="http://schemas.microsoft.com/office/drawing/2014/main" val="1344260864"/>
                  </a:ext>
                </a:extLst>
              </a:tr>
              <a:tr h="305530">
                <a:tc gridSpan="2">
                  <a:txBody>
                    <a:bodyPr/>
                    <a:lstStyle/>
                    <a:p>
                      <a:r>
                        <a:rPr lang="en-US" sz="1100" b="1" dirty="0">
                          <a:solidFill>
                            <a:schemeClr val="tx1">
                              <a:lumMod val="75000"/>
                              <a:lumOff val="25000"/>
                            </a:schemeClr>
                          </a:solidFill>
                          <a:latin typeface="+mn-lt"/>
                          <a:cs typeface="Arial" panose="020B0604020202020204" pitchFamily="34" charset="0"/>
                          <a:sym typeface="Arial" panose="020B0604020202020204" pitchFamily="34" charset="0"/>
                        </a:rPr>
                        <a:t>External Data</a:t>
                      </a:r>
                    </a:p>
                  </a:txBody>
                  <a:tcPr marL="91416" marR="91416" marT="45708" marB="45708" anchor="ctr">
                    <a:lnL>
                      <a:noFill/>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Data purchased from 3</a:t>
                      </a:r>
                      <a:r>
                        <a:rPr lang="en-US" sz="950" baseline="30000" dirty="0">
                          <a:solidFill>
                            <a:schemeClr val="tx1">
                              <a:lumMod val="75000"/>
                              <a:lumOff val="25000"/>
                            </a:schemeClr>
                          </a:solidFill>
                          <a:latin typeface="+mn-lt"/>
                          <a:cs typeface="Arial" panose="020B0604020202020204" pitchFamily="34" charset="0"/>
                          <a:sym typeface="Arial" panose="020B0604020202020204" pitchFamily="34" charset="0"/>
                        </a:rPr>
                        <a:t>rd</a:t>
                      </a:r>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 Parties for consumption within CVS Health.</a:t>
                      </a:r>
                    </a:p>
                  </a:txBody>
                  <a:tcPr marL="91416" marR="91416" marT="45708" marB="45708" anchor="ctr">
                    <a:lnL>
                      <a:noFill/>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764080872"/>
                  </a:ext>
                </a:extLst>
              </a:tr>
              <a:tr h="336939">
                <a:tc gridSpan="2">
                  <a:txBody>
                    <a:bodyPr/>
                    <a:lstStyle/>
                    <a:p>
                      <a:r>
                        <a:rPr lang="en-US" sz="1100" b="1" dirty="0">
                          <a:solidFill>
                            <a:schemeClr val="tx1">
                              <a:lumMod val="75000"/>
                              <a:lumOff val="25000"/>
                            </a:schemeClr>
                          </a:solidFill>
                          <a:latin typeface="+mn-lt"/>
                          <a:cs typeface="Arial" panose="020B0604020202020204" pitchFamily="34" charset="0"/>
                          <a:sym typeface="Arial" panose="020B0604020202020204" pitchFamily="34" charset="0"/>
                        </a:rPr>
                        <a:t>External Data Index</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Book of record designed to store data on external data or an extension of the external data we own, who owns it and where it can be found. Depending on the specific set of data an Index entry is referring to, this Index entry may be at the record level, document level, JSON, etc., and contain different columns / different granularity of data / different schema.</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3759658260"/>
                  </a:ext>
                </a:extLst>
              </a:tr>
              <a:tr h="336939">
                <a:tc gridSpan="2">
                  <a:txBody>
                    <a:bodyPr/>
                    <a:lstStyle/>
                    <a:p>
                      <a:r>
                        <a:rPr lang="en-US" sz="1100" b="1" dirty="0">
                          <a:solidFill>
                            <a:schemeClr val="tx1">
                              <a:lumMod val="75000"/>
                              <a:lumOff val="25000"/>
                            </a:schemeClr>
                          </a:solidFill>
                          <a:latin typeface="+mn-lt"/>
                          <a:cs typeface="Arial" panose="020B0604020202020204" pitchFamily="34" charset="0"/>
                          <a:sym typeface="Arial" panose="020B0604020202020204" pitchFamily="34" charset="0"/>
                        </a:rPr>
                        <a:t>Medical Claim Business Key</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Supplemental Medical Claim Business Key to Identify an event</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3863551068"/>
                  </a:ext>
                </a:extLst>
              </a:tr>
              <a:tr h="0">
                <a:tc>
                  <a:txBody>
                    <a:bodyPr/>
                    <a:lstStyle/>
                    <a:p>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MEMBER_ID</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1"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A unique Data Warehouse assigned member identifier. Member may have more than one identifier.</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01906719"/>
                  </a:ext>
                </a:extLst>
              </a:tr>
              <a:tr h="13182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SRV_START_DT</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1"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The date that the service began.</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900"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5829549"/>
                  </a:ext>
                </a:extLst>
              </a:tr>
              <a:tr h="0">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SRV_PRVDR_ID </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900" b="1"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Uniquely identifies the provider that rendered services.</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900"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8613580"/>
                  </a:ext>
                </a:extLst>
              </a:tr>
              <a:tr h="171432">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REVENUE_CD </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900" b="1"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Represents a revenue center in a hospital</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3499179722"/>
                  </a:ext>
                </a:extLst>
              </a:tr>
              <a:tr h="0">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PRCDR_CD</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900" b="1"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The procedure or service performed by a provider (not typically populated on facility claims). A value of 'A' in this field is an ACAS claim system default value indicating that a procedure code was not entered</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49126107"/>
                  </a:ext>
                </a:extLst>
              </a:tr>
              <a:tr h="0">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DATA_SOURCE</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900" b="1"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Denotes where the data lives (in what system/database/warehouse)</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2334199244"/>
                  </a:ext>
                </a:extLst>
              </a:tr>
              <a:tr h="0">
                <a:tc gridSpan="2">
                  <a:txBody>
                    <a:bodyPr/>
                    <a:lstStyle/>
                    <a:p>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COMMENTS</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Additional comments and / or description that could be helpful to the consumer</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3771417020"/>
                  </a:ext>
                </a:extLst>
              </a:tr>
              <a:tr h="154145">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DISPOSITION</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Child entity disposition of record including purpose/use/restrictions of the data for governance</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4116403947"/>
                  </a:ext>
                </a:extLst>
              </a:tr>
              <a:tr h="0">
                <a:tc gridSpan="2">
                  <a:txBody>
                    <a:bodyPr/>
                    <a:lstStyle/>
                    <a:p>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DISP_DT </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Dispensed date = The date the prescription was filled or dispensed.</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1444911980"/>
                  </a:ext>
                </a:extLst>
              </a:tr>
              <a:tr h="182868">
                <a:tc gridSpan="2">
                  <a:txBody>
                    <a:bodyPr/>
                    <a:lstStyle/>
                    <a:p>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NDC_CD </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National Drug Code = An industry standard 11-digit code used to identify drug products. Generally, the first 5 digits indicate the manufacturer, next 4 digits indicate the drug product, and the last 2 digits indicate the packaging.</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231597404"/>
                  </a:ext>
                </a:extLst>
              </a:tr>
              <a:tr h="182868">
                <a:tc gridSpan="2">
                  <a:txBody>
                    <a:bodyPr/>
                    <a:lstStyle/>
                    <a:p>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NABP_NBR</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National Association Board of Pharmacies Number = A unique identifier assigned by the National Association Board of Pharmacies (NABP) to identify a pharmacy provider.</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670525438"/>
                  </a:ext>
                </a:extLst>
              </a:tr>
              <a:tr h="299839">
                <a:tc gridSpan="2">
                  <a:txBody>
                    <a:bodyPr/>
                    <a:lstStyle/>
                    <a:p>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VENDOR_ID</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Vendor identification</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2107224776"/>
                  </a:ext>
                </a:extLst>
              </a:tr>
              <a:tr h="259167">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dirty="0">
                          <a:solidFill>
                            <a:schemeClr val="tx1">
                              <a:lumMod val="75000"/>
                              <a:lumOff val="25000"/>
                            </a:schemeClr>
                          </a:solidFill>
                          <a:latin typeface="+mn-lt"/>
                          <a:cs typeface="Arial" panose="020B0604020202020204" pitchFamily="34" charset="0"/>
                          <a:sym typeface="Arial" panose="020B0604020202020204" pitchFamily="34" charset="0"/>
                        </a:rPr>
                        <a:t>XTRNL_LAB_LOINC_CD</a:t>
                      </a:r>
                    </a:p>
                    <a:p>
                      <a:endParaRPr lang="en-US" sz="900" b="1" dirty="0">
                        <a:solidFill>
                          <a:schemeClr val="tx1">
                            <a:lumMod val="75000"/>
                            <a:lumOff val="25000"/>
                          </a:schemeClr>
                        </a:solidFill>
                        <a:latin typeface="+mn-lt"/>
                        <a:cs typeface="Arial" panose="020B0604020202020204" pitchFamily="34" charset="0"/>
                        <a:sym typeface="Arial" panose="020B0604020202020204" pitchFamily="34" charset="0"/>
                      </a:endParaRP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The </a:t>
                      </a:r>
                      <a:r>
                        <a:rPr lang="en-US" sz="950" dirty="0" err="1">
                          <a:solidFill>
                            <a:schemeClr val="tx1">
                              <a:lumMod val="75000"/>
                              <a:lumOff val="25000"/>
                            </a:schemeClr>
                          </a:solidFill>
                          <a:latin typeface="+mn-lt"/>
                          <a:cs typeface="Arial" panose="020B0604020202020204" pitchFamily="34" charset="0"/>
                          <a:sym typeface="Arial" panose="020B0604020202020204" pitchFamily="34" charset="0"/>
                        </a:rPr>
                        <a:t>loinc</a:t>
                      </a:r>
                      <a:r>
                        <a:rPr lang="en-US" sz="950" dirty="0">
                          <a:solidFill>
                            <a:schemeClr val="tx1">
                              <a:lumMod val="75000"/>
                              <a:lumOff val="25000"/>
                            </a:schemeClr>
                          </a:solidFill>
                          <a:latin typeface="+mn-lt"/>
                          <a:cs typeface="Arial" panose="020B0604020202020204" pitchFamily="34" charset="0"/>
                          <a:sym typeface="Arial" panose="020B0604020202020204" pitchFamily="34" charset="0"/>
                        </a:rPr>
                        <a:t> code supplied by the laboratory.</a:t>
                      </a:r>
                    </a:p>
                  </a:txBody>
                  <a:tcPr marL="91416" marR="91416" marT="45708" marB="45708" anchor="ctr">
                    <a:lnL>
                      <a:noFill/>
                    </a:lnL>
                    <a:lnR>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hMerge="1">
                  <a:txBody>
                    <a:bodyPr/>
                    <a:lstStyle/>
                    <a:p>
                      <a:endParaRPr lang="en-US"/>
                    </a:p>
                  </a:txBody>
                  <a:tcPr>
                    <a:lnL>
                      <a:noFill/>
                    </a:lnL>
                  </a:tcPr>
                </a:tc>
                <a:extLst>
                  <a:ext uri="{0D108BD9-81ED-4DB2-BD59-A6C34878D82A}">
                    <a16:rowId xmlns:a16="http://schemas.microsoft.com/office/drawing/2014/main" val="2553097773"/>
                  </a:ext>
                </a:extLst>
              </a:tr>
            </a:tbl>
          </a:graphicData>
        </a:graphic>
      </p:graphicFrame>
      <p:sp>
        <p:nvSpPr>
          <p:cNvPr id="7" name="Title 1">
            <a:extLst>
              <a:ext uri="{FF2B5EF4-FFF2-40B4-BE49-F238E27FC236}">
                <a16:creationId xmlns:a16="http://schemas.microsoft.com/office/drawing/2014/main" id="{0D7FA4C1-1551-41BE-A604-C465AD23D0A5}"/>
              </a:ext>
            </a:extLst>
          </p:cNvPr>
          <p:cNvSpPr>
            <a:spLocks noGrp="1"/>
          </p:cNvSpPr>
          <p:nvPr>
            <p:ph type="title"/>
          </p:nvPr>
        </p:nvSpPr>
        <p:spPr>
          <a:xfrm>
            <a:off x="557929" y="530351"/>
            <a:ext cx="9667726" cy="713232"/>
          </a:xfrm>
        </p:spPr>
        <p:txBody>
          <a:bodyPr/>
          <a:lstStyle/>
          <a:p>
            <a:r>
              <a:rPr lang="en-US" dirty="0">
                <a:latin typeface="CVS Health Sans" panose="020B0504020202020204" pitchFamily="34" charset="0"/>
                <a:cs typeface="Arial" panose="020B0604020202020204" pitchFamily="34" charset="0"/>
                <a:sym typeface="Arial" panose="020B0604020202020204" pitchFamily="34" charset="0"/>
              </a:rPr>
              <a:t>Glossary of Terms</a:t>
            </a:r>
          </a:p>
        </p:txBody>
      </p:sp>
    </p:spTree>
    <p:extLst>
      <p:ext uri="{BB962C8B-B14F-4D97-AF65-F5344CB8AC3E}">
        <p14:creationId xmlns:p14="http://schemas.microsoft.com/office/powerpoint/2010/main" val="41107616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6EE6365-81AD-4FCA-A5B9-4F4D0C586289}"/>
              </a:ext>
            </a:extLst>
          </p:cNvPr>
          <p:cNvSpPr/>
          <p:nvPr/>
        </p:nvSpPr>
        <p:spPr bwMode="gray">
          <a:xfrm>
            <a:off x="815692" y="2601228"/>
            <a:ext cx="4690865" cy="2466675"/>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2" name="Title 1">
            <a:extLst>
              <a:ext uri="{FF2B5EF4-FFF2-40B4-BE49-F238E27FC236}">
                <a16:creationId xmlns:a16="http://schemas.microsoft.com/office/drawing/2014/main" id="{EEB2DB48-F55E-46AE-9540-691925464E4C}"/>
              </a:ext>
            </a:extLst>
          </p:cNvPr>
          <p:cNvSpPr>
            <a:spLocks noGrp="1"/>
          </p:cNvSpPr>
          <p:nvPr>
            <p:ph type="title"/>
          </p:nvPr>
        </p:nvSpPr>
        <p:spPr/>
        <p:txBody>
          <a:bodyPr/>
          <a:lstStyle/>
          <a:p>
            <a:r>
              <a:rPr lang="en-US" dirty="0"/>
              <a:t>CVSH External Data Intake - Future State with Data Hub</a:t>
            </a:r>
          </a:p>
        </p:txBody>
      </p:sp>
      <p:sp>
        <p:nvSpPr>
          <p:cNvPr id="12" name="Rectangle: Rounded Corners 11">
            <a:extLst>
              <a:ext uri="{FF2B5EF4-FFF2-40B4-BE49-F238E27FC236}">
                <a16:creationId xmlns:a16="http://schemas.microsoft.com/office/drawing/2014/main" id="{FE80D894-D049-4249-89C3-2CB429A7EF23}"/>
              </a:ext>
            </a:extLst>
          </p:cNvPr>
          <p:cNvSpPr/>
          <p:nvPr/>
        </p:nvSpPr>
        <p:spPr bwMode="gray">
          <a:xfrm>
            <a:off x="4174319" y="1648874"/>
            <a:ext cx="1112362" cy="461914"/>
          </a:xfrm>
          <a:prstGeom prst="round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b="1">
                <a:solidFill>
                  <a:schemeClr val="tx2"/>
                </a:solidFill>
              </a:rPr>
              <a:t>Reference</a:t>
            </a:r>
          </a:p>
          <a:p>
            <a:pPr algn="ctr"/>
            <a:r>
              <a:rPr lang="en-US" sz="1200" b="1">
                <a:solidFill>
                  <a:schemeClr val="tx2"/>
                </a:solidFill>
              </a:rPr>
              <a:t>Data</a:t>
            </a:r>
          </a:p>
        </p:txBody>
      </p:sp>
      <p:sp>
        <p:nvSpPr>
          <p:cNvPr id="14" name="Oval 13">
            <a:extLst>
              <a:ext uri="{FF2B5EF4-FFF2-40B4-BE49-F238E27FC236}">
                <a16:creationId xmlns:a16="http://schemas.microsoft.com/office/drawing/2014/main" id="{F6B3E33B-279A-4B57-A0C7-AFD4CB2BA78F}"/>
              </a:ext>
            </a:extLst>
          </p:cNvPr>
          <p:cNvSpPr/>
          <p:nvPr/>
        </p:nvSpPr>
        <p:spPr bwMode="gray">
          <a:xfrm>
            <a:off x="883789" y="1593993"/>
            <a:ext cx="1310326" cy="612648"/>
          </a:xfrm>
          <a:prstGeom prst="ellipse">
            <a:avLst/>
          </a:prstGeom>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b="1">
                <a:solidFill>
                  <a:schemeClr val="tx2"/>
                </a:solidFill>
              </a:rPr>
              <a:t>External </a:t>
            </a:r>
          </a:p>
          <a:p>
            <a:pPr algn="ctr"/>
            <a:r>
              <a:rPr lang="en-US" sz="1200" b="1">
                <a:solidFill>
                  <a:schemeClr val="tx2"/>
                </a:solidFill>
              </a:rPr>
              <a:t>Data</a:t>
            </a:r>
          </a:p>
        </p:txBody>
      </p:sp>
      <p:cxnSp>
        <p:nvCxnSpPr>
          <p:cNvPr id="4" name="Straight Arrow Connector 3">
            <a:extLst>
              <a:ext uri="{FF2B5EF4-FFF2-40B4-BE49-F238E27FC236}">
                <a16:creationId xmlns:a16="http://schemas.microsoft.com/office/drawing/2014/main" id="{EEF197D6-422C-4476-9AAB-134C0BB2E24F}"/>
              </a:ext>
            </a:extLst>
          </p:cNvPr>
          <p:cNvCxnSpPr/>
          <p:nvPr/>
        </p:nvCxnSpPr>
        <p:spPr>
          <a:xfrm>
            <a:off x="15086465" y="5706763"/>
            <a:ext cx="633864" cy="0"/>
          </a:xfrm>
          <a:prstGeom prst="straightConnector1">
            <a:avLst/>
          </a:prstGeom>
          <a:ln w="12700" cmpd="sng">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348D7C3F-B83C-43A8-9D28-CCC9C4BBB069}"/>
              </a:ext>
            </a:extLst>
          </p:cNvPr>
          <p:cNvCxnSpPr>
            <a:cxnSpLocks/>
            <a:stCxn id="8" idx="2"/>
            <a:endCxn id="7" idx="1"/>
          </p:cNvCxnSpPr>
          <p:nvPr/>
        </p:nvCxnSpPr>
        <p:spPr>
          <a:xfrm rot="16200000" flipH="1">
            <a:off x="1326649" y="3927816"/>
            <a:ext cx="429141" cy="349"/>
          </a:xfrm>
          <a:prstGeom prst="bentConnector3">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a:extLst>
              <a:ext uri="{FF2B5EF4-FFF2-40B4-BE49-F238E27FC236}">
                <a16:creationId xmlns:a16="http://schemas.microsoft.com/office/drawing/2014/main" id="{241AE13A-CC4B-4DEF-B58D-790536D65968}"/>
              </a:ext>
            </a:extLst>
          </p:cNvPr>
          <p:cNvCxnSpPr>
            <a:cxnSpLocks/>
            <a:stCxn id="14" idx="4"/>
            <a:endCxn id="8" idx="0"/>
          </p:cNvCxnSpPr>
          <p:nvPr/>
        </p:nvCxnSpPr>
        <p:spPr>
          <a:xfrm>
            <a:off x="1538952" y="2206641"/>
            <a:ext cx="2093" cy="1065059"/>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8FEF314A-9932-4F10-8E0C-6B6DF5F71CD9}"/>
              </a:ext>
            </a:extLst>
          </p:cNvPr>
          <p:cNvCxnSpPr>
            <a:cxnSpLocks/>
            <a:stCxn id="10" idx="0"/>
            <a:endCxn id="9" idx="2"/>
          </p:cNvCxnSpPr>
          <p:nvPr/>
        </p:nvCxnSpPr>
        <p:spPr>
          <a:xfrm flipV="1">
            <a:off x="3105035" y="3713421"/>
            <a:ext cx="0" cy="51893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7" name="Flowchart: Magnetic Disk 6">
            <a:extLst>
              <a:ext uri="{FF2B5EF4-FFF2-40B4-BE49-F238E27FC236}">
                <a16:creationId xmlns:a16="http://schemas.microsoft.com/office/drawing/2014/main" id="{CBBEE985-DFA9-4335-84E8-9CC49B0EB534}"/>
              </a:ext>
            </a:extLst>
          </p:cNvPr>
          <p:cNvSpPr/>
          <p:nvPr/>
        </p:nvSpPr>
        <p:spPr bwMode="gray">
          <a:xfrm>
            <a:off x="1106142" y="4142562"/>
            <a:ext cx="870503" cy="58586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Raw</a:t>
            </a:r>
          </a:p>
          <a:p>
            <a:pPr algn="ctr"/>
            <a:r>
              <a:rPr lang="en-US" sz="1200">
                <a:solidFill>
                  <a:schemeClr val="bg1"/>
                </a:solidFill>
              </a:rPr>
              <a:t>Data</a:t>
            </a:r>
          </a:p>
        </p:txBody>
      </p:sp>
      <p:sp>
        <p:nvSpPr>
          <p:cNvPr id="8" name="Rectangle: Rounded Corners 7">
            <a:extLst>
              <a:ext uri="{FF2B5EF4-FFF2-40B4-BE49-F238E27FC236}">
                <a16:creationId xmlns:a16="http://schemas.microsoft.com/office/drawing/2014/main" id="{0AEC7480-7499-442D-9B7F-9286FAFB0818}"/>
              </a:ext>
            </a:extLst>
          </p:cNvPr>
          <p:cNvSpPr/>
          <p:nvPr/>
        </p:nvSpPr>
        <p:spPr bwMode="gray">
          <a:xfrm>
            <a:off x="1011564" y="3271700"/>
            <a:ext cx="1058962"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Ingest</a:t>
            </a:r>
          </a:p>
        </p:txBody>
      </p:sp>
      <p:sp>
        <p:nvSpPr>
          <p:cNvPr id="9" name="Rectangle: Rounded Corners 8">
            <a:extLst>
              <a:ext uri="{FF2B5EF4-FFF2-40B4-BE49-F238E27FC236}">
                <a16:creationId xmlns:a16="http://schemas.microsoft.com/office/drawing/2014/main" id="{AD31964D-E5E9-49A2-B1C4-DFCAC54C0BAF}"/>
              </a:ext>
            </a:extLst>
          </p:cNvPr>
          <p:cNvSpPr/>
          <p:nvPr/>
        </p:nvSpPr>
        <p:spPr bwMode="gray">
          <a:xfrm>
            <a:off x="2575554" y="3271700"/>
            <a:ext cx="1058962" cy="441721"/>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a:solidFill>
                  <a:schemeClr val="bg1"/>
                </a:solidFill>
              </a:rPr>
              <a:t>Curation</a:t>
            </a:r>
          </a:p>
        </p:txBody>
      </p:sp>
      <p:sp>
        <p:nvSpPr>
          <p:cNvPr id="10" name="Rectangle: Rounded Corners 9">
            <a:extLst>
              <a:ext uri="{FF2B5EF4-FFF2-40B4-BE49-F238E27FC236}">
                <a16:creationId xmlns:a16="http://schemas.microsoft.com/office/drawing/2014/main" id="{EE9C9ED5-ABCE-4FDB-86CF-FDFC75DD74BD}"/>
              </a:ext>
            </a:extLst>
          </p:cNvPr>
          <p:cNvSpPr/>
          <p:nvPr/>
        </p:nvSpPr>
        <p:spPr bwMode="gray">
          <a:xfrm>
            <a:off x="2575554" y="4232352"/>
            <a:ext cx="1058962"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Rules</a:t>
            </a:r>
          </a:p>
          <a:p>
            <a:pPr algn="ctr"/>
            <a:r>
              <a:rPr lang="en-US" sz="1200">
                <a:solidFill>
                  <a:schemeClr val="bg1"/>
                </a:solidFill>
              </a:rPr>
              <a:t>Libraries</a:t>
            </a:r>
          </a:p>
        </p:txBody>
      </p:sp>
      <p:sp>
        <p:nvSpPr>
          <p:cNvPr id="11" name="Flowchart: Magnetic Disk 10">
            <a:extLst>
              <a:ext uri="{FF2B5EF4-FFF2-40B4-BE49-F238E27FC236}">
                <a16:creationId xmlns:a16="http://schemas.microsoft.com/office/drawing/2014/main" id="{728DB449-6AC5-415B-AD63-6D253B91B5F8}"/>
              </a:ext>
            </a:extLst>
          </p:cNvPr>
          <p:cNvSpPr/>
          <p:nvPr/>
        </p:nvSpPr>
        <p:spPr bwMode="gray">
          <a:xfrm>
            <a:off x="4091949" y="3140234"/>
            <a:ext cx="1251909" cy="70801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Curated </a:t>
            </a:r>
          </a:p>
          <a:p>
            <a:pPr algn="ctr"/>
            <a:r>
              <a:rPr lang="en-US" sz="1200">
                <a:solidFill>
                  <a:schemeClr val="bg1"/>
                </a:solidFill>
              </a:rPr>
              <a:t>Raw +</a:t>
            </a:r>
          </a:p>
          <a:p>
            <a:pPr algn="ctr"/>
            <a:r>
              <a:rPr lang="en-US" sz="1200">
                <a:solidFill>
                  <a:schemeClr val="bg1"/>
                </a:solidFill>
              </a:rPr>
              <a:t>“Decoration”</a:t>
            </a:r>
          </a:p>
        </p:txBody>
      </p:sp>
      <p:sp>
        <p:nvSpPr>
          <p:cNvPr id="36" name="TextBox 35">
            <a:extLst>
              <a:ext uri="{FF2B5EF4-FFF2-40B4-BE49-F238E27FC236}">
                <a16:creationId xmlns:a16="http://schemas.microsoft.com/office/drawing/2014/main" id="{B1C07FB1-E4F7-46B0-9153-B6C0A2878CC2}"/>
              </a:ext>
            </a:extLst>
          </p:cNvPr>
          <p:cNvSpPr txBox="1"/>
          <p:nvPr/>
        </p:nvSpPr>
        <p:spPr>
          <a:xfrm>
            <a:off x="2312521" y="2657914"/>
            <a:ext cx="1404231" cy="200055"/>
          </a:xfrm>
          <a:prstGeom prst="rect">
            <a:avLst/>
          </a:prstGeom>
          <a:noFill/>
        </p:spPr>
        <p:txBody>
          <a:bodyPr wrap="none" lIns="0" tIns="0" rIns="0" bIns="0" rtlCol="0">
            <a:spAutoFit/>
          </a:bodyPr>
          <a:lstStyle/>
          <a:p>
            <a:r>
              <a:rPr lang="en-US" sz="1300" b="1">
                <a:solidFill>
                  <a:schemeClr val="tx2"/>
                </a:solidFill>
              </a:rPr>
              <a:t>Data Hub Service</a:t>
            </a:r>
          </a:p>
        </p:txBody>
      </p:sp>
      <p:cxnSp>
        <p:nvCxnSpPr>
          <p:cNvPr id="38" name="Straight Arrow Connector 37">
            <a:extLst>
              <a:ext uri="{FF2B5EF4-FFF2-40B4-BE49-F238E27FC236}">
                <a16:creationId xmlns:a16="http://schemas.microsoft.com/office/drawing/2014/main" id="{7F2776A2-55FA-4901-8D56-61F7EDBF5378}"/>
              </a:ext>
            </a:extLst>
          </p:cNvPr>
          <p:cNvCxnSpPr>
            <a:cxnSpLocks/>
            <a:stCxn id="32" idx="3"/>
            <a:endCxn id="16" idx="2"/>
          </p:cNvCxnSpPr>
          <p:nvPr/>
        </p:nvCxnSpPr>
        <p:spPr>
          <a:xfrm>
            <a:off x="8481566" y="2333682"/>
            <a:ext cx="858322" cy="243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0" name="Straight Arrow Connector 39">
            <a:extLst>
              <a:ext uri="{FF2B5EF4-FFF2-40B4-BE49-F238E27FC236}">
                <a16:creationId xmlns:a16="http://schemas.microsoft.com/office/drawing/2014/main" id="{41BF7768-DCB4-4368-9877-C2C93FF91055}"/>
              </a:ext>
            </a:extLst>
          </p:cNvPr>
          <p:cNvCxnSpPr>
            <a:cxnSpLocks/>
            <a:stCxn id="11" idx="4"/>
          </p:cNvCxnSpPr>
          <p:nvPr/>
        </p:nvCxnSpPr>
        <p:spPr>
          <a:xfrm flipV="1">
            <a:off x="5343858" y="2569451"/>
            <a:ext cx="1443280" cy="92479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2" name="Straight Arrow Connector 41">
            <a:extLst>
              <a:ext uri="{FF2B5EF4-FFF2-40B4-BE49-F238E27FC236}">
                <a16:creationId xmlns:a16="http://schemas.microsoft.com/office/drawing/2014/main" id="{3D295E1E-2075-4B22-857E-FD03C60F7025}"/>
              </a:ext>
            </a:extLst>
          </p:cNvPr>
          <p:cNvCxnSpPr>
            <a:cxnSpLocks/>
            <a:stCxn id="11" idx="4"/>
          </p:cNvCxnSpPr>
          <p:nvPr/>
        </p:nvCxnSpPr>
        <p:spPr>
          <a:xfrm flipV="1">
            <a:off x="5343858" y="3271700"/>
            <a:ext cx="1443280" cy="22254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7" name="Straight Arrow Connector 46">
            <a:extLst>
              <a:ext uri="{FF2B5EF4-FFF2-40B4-BE49-F238E27FC236}">
                <a16:creationId xmlns:a16="http://schemas.microsoft.com/office/drawing/2014/main" id="{027D99D2-D61F-43DD-88D9-A764AB3F4C74}"/>
              </a:ext>
            </a:extLst>
          </p:cNvPr>
          <p:cNvCxnSpPr>
            <a:cxnSpLocks/>
            <a:stCxn id="33" idx="3"/>
            <a:endCxn id="45" idx="2"/>
          </p:cNvCxnSpPr>
          <p:nvPr/>
        </p:nvCxnSpPr>
        <p:spPr>
          <a:xfrm>
            <a:off x="8481566" y="3223528"/>
            <a:ext cx="877906" cy="563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9" name="Straight Arrow Connector 48">
            <a:extLst>
              <a:ext uri="{FF2B5EF4-FFF2-40B4-BE49-F238E27FC236}">
                <a16:creationId xmlns:a16="http://schemas.microsoft.com/office/drawing/2014/main" id="{EB1E3269-08BD-4913-A0C9-43F30A56D799}"/>
              </a:ext>
            </a:extLst>
          </p:cNvPr>
          <p:cNvCxnSpPr>
            <a:cxnSpLocks/>
            <a:stCxn id="11" idx="4"/>
          </p:cNvCxnSpPr>
          <p:nvPr/>
        </p:nvCxnSpPr>
        <p:spPr>
          <a:xfrm>
            <a:off x="5343858" y="3494242"/>
            <a:ext cx="1443280" cy="1020719"/>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52" name="Straight Arrow Connector 51">
            <a:extLst>
              <a:ext uri="{FF2B5EF4-FFF2-40B4-BE49-F238E27FC236}">
                <a16:creationId xmlns:a16="http://schemas.microsoft.com/office/drawing/2014/main" id="{9A801628-898B-4840-8337-E3F4FCEE2F10}"/>
              </a:ext>
            </a:extLst>
          </p:cNvPr>
          <p:cNvCxnSpPr>
            <a:cxnSpLocks/>
            <a:stCxn id="34" idx="3"/>
            <a:endCxn id="19" idx="1"/>
          </p:cNvCxnSpPr>
          <p:nvPr/>
        </p:nvCxnSpPr>
        <p:spPr>
          <a:xfrm>
            <a:off x="8481566" y="5044931"/>
            <a:ext cx="466046"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65" name="Straight Arrow Connector 64">
            <a:extLst>
              <a:ext uri="{FF2B5EF4-FFF2-40B4-BE49-F238E27FC236}">
                <a16:creationId xmlns:a16="http://schemas.microsoft.com/office/drawing/2014/main" id="{9F79DEE4-32EB-4954-BB88-47EAFD90F0F2}"/>
              </a:ext>
            </a:extLst>
          </p:cNvPr>
          <p:cNvCxnSpPr>
            <a:cxnSpLocks/>
            <a:endCxn id="9" idx="0"/>
          </p:cNvCxnSpPr>
          <p:nvPr/>
        </p:nvCxnSpPr>
        <p:spPr>
          <a:xfrm flipH="1">
            <a:off x="3105035" y="2145975"/>
            <a:ext cx="17692" cy="1125725"/>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67" name="Straight Arrow Connector 66">
            <a:extLst>
              <a:ext uri="{FF2B5EF4-FFF2-40B4-BE49-F238E27FC236}">
                <a16:creationId xmlns:a16="http://schemas.microsoft.com/office/drawing/2014/main" id="{BCC689C9-66DC-4DAB-980A-751E46C8B338}"/>
              </a:ext>
            </a:extLst>
          </p:cNvPr>
          <p:cNvCxnSpPr>
            <a:cxnSpLocks/>
            <a:stCxn id="11" idx="4"/>
          </p:cNvCxnSpPr>
          <p:nvPr/>
        </p:nvCxnSpPr>
        <p:spPr>
          <a:xfrm>
            <a:off x="5343858" y="3494242"/>
            <a:ext cx="1443280" cy="40309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21" name="Group 20">
            <a:extLst>
              <a:ext uri="{FF2B5EF4-FFF2-40B4-BE49-F238E27FC236}">
                <a16:creationId xmlns:a16="http://schemas.microsoft.com/office/drawing/2014/main" id="{9D6DA8C5-2116-432C-BA28-25EE6D29583D}"/>
              </a:ext>
            </a:extLst>
          </p:cNvPr>
          <p:cNvGrpSpPr/>
          <p:nvPr/>
        </p:nvGrpSpPr>
        <p:grpSpPr>
          <a:xfrm>
            <a:off x="6787138" y="1830746"/>
            <a:ext cx="5096275" cy="4073096"/>
            <a:chOff x="6787138" y="1711478"/>
            <a:chExt cx="5096275" cy="4073096"/>
          </a:xfrm>
        </p:grpSpPr>
        <p:sp>
          <p:nvSpPr>
            <p:cNvPr id="50" name="Rectangle 49">
              <a:extLst>
                <a:ext uri="{FF2B5EF4-FFF2-40B4-BE49-F238E27FC236}">
                  <a16:creationId xmlns:a16="http://schemas.microsoft.com/office/drawing/2014/main" id="{75207217-91AF-4E8B-A9E8-A32EC790D29A}"/>
                </a:ext>
              </a:extLst>
            </p:cNvPr>
            <p:cNvSpPr/>
            <p:nvPr/>
          </p:nvSpPr>
          <p:spPr bwMode="gray">
            <a:xfrm>
              <a:off x="6787138" y="1711478"/>
              <a:ext cx="5096275" cy="4073096"/>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16" name="Flowchart: Magnetic Disk 15">
              <a:extLst>
                <a:ext uri="{FF2B5EF4-FFF2-40B4-BE49-F238E27FC236}">
                  <a16:creationId xmlns:a16="http://schemas.microsoft.com/office/drawing/2014/main" id="{0A6DB9FC-2790-49F5-96BC-671A635F376F}"/>
                </a:ext>
              </a:extLst>
            </p:cNvPr>
            <p:cNvSpPr/>
            <p:nvPr/>
          </p:nvSpPr>
          <p:spPr bwMode="gray">
            <a:xfrm>
              <a:off x="9339888" y="1923911"/>
              <a:ext cx="1122664" cy="58586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AHM ODS</a:t>
              </a:r>
            </a:p>
          </p:txBody>
        </p:sp>
        <p:sp>
          <p:nvSpPr>
            <p:cNvPr id="32" name="Rectangle: Rounded Corners 31">
              <a:extLst>
                <a:ext uri="{FF2B5EF4-FFF2-40B4-BE49-F238E27FC236}">
                  <a16:creationId xmlns:a16="http://schemas.microsoft.com/office/drawing/2014/main" id="{C23CAF40-5081-4672-BB4F-CE5D10092D0A}"/>
                </a:ext>
              </a:extLst>
            </p:cNvPr>
            <p:cNvSpPr/>
            <p:nvPr/>
          </p:nvSpPr>
          <p:spPr bwMode="gray">
            <a:xfrm>
              <a:off x="7422604" y="1993553"/>
              <a:ext cx="1058962"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AHDI ETL</a:t>
              </a:r>
            </a:p>
          </p:txBody>
        </p:sp>
        <p:sp>
          <p:nvSpPr>
            <p:cNvPr id="33" name="Rectangle: Rounded Corners 32">
              <a:extLst>
                <a:ext uri="{FF2B5EF4-FFF2-40B4-BE49-F238E27FC236}">
                  <a16:creationId xmlns:a16="http://schemas.microsoft.com/office/drawing/2014/main" id="{EA2C1C74-8715-4291-B19D-B1A652C9088A}"/>
                </a:ext>
              </a:extLst>
            </p:cNvPr>
            <p:cNvSpPr/>
            <p:nvPr/>
          </p:nvSpPr>
          <p:spPr bwMode="gray">
            <a:xfrm>
              <a:off x="7422604" y="2883399"/>
              <a:ext cx="1058962"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EDW ETL</a:t>
              </a:r>
            </a:p>
          </p:txBody>
        </p:sp>
        <p:sp>
          <p:nvSpPr>
            <p:cNvPr id="34" name="Rectangle: Rounded Corners 33">
              <a:extLst>
                <a:ext uri="{FF2B5EF4-FFF2-40B4-BE49-F238E27FC236}">
                  <a16:creationId xmlns:a16="http://schemas.microsoft.com/office/drawing/2014/main" id="{382E8A01-BEF3-48DC-8ADF-624A68CB482B}"/>
                </a:ext>
              </a:extLst>
            </p:cNvPr>
            <p:cNvSpPr/>
            <p:nvPr/>
          </p:nvSpPr>
          <p:spPr bwMode="gray">
            <a:xfrm>
              <a:off x="7422604" y="4704802"/>
              <a:ext cx="1058962"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Ingest</a:t>
              </a:r>
            </a:p>
          </p:txBody>
        </p:sp>
        <p:sp>
          <p:nvSpPr>
            <p:cNvPr id="45" name="Flowchart: Magnetic Disk 44">
              <a:extLst>
                <a:ext uri="{FF2B5EF4-FFF2-40B4-BE49-F238E27FC236}">
                  <a16:creationId xmlns:a16="http://schemas.microsoft.com/office/drawing/2014/main" id="{3343FEFB-7C1D-4798-BA26-F401C7045C50}"/>
                </a:ext>
              </a:extLst>
            </p:cNvPr>
            <p:cNvSpPr/>
            <p:nvPr/>
          </p:nvSpPr>
          <p:spPr bwMode="gray">
            <a:xfrm>
              <a:off x="9359472" y="2816959"/>
              <a:ext cx="1122664" cy="58586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EDW</a:t>
              </a:r>
            </a:p>
            <a:p>
              <a:pPr algn="ctr"/>
              <a:r>
                <a:rPr lang="en-US" sz="1200">
                  <a:solidFill>
                    <a:schemeClr val="bg1"/>
                  </a:solidFill>
                </a:rPr>
                <a:t>External</a:t>
              </a:r>
            </a:p>
          </p:txBody>
        </p:sp>
        <p:grpSp>
          <p:nvGrpSpPr>
            <p:cNvPr id="59" name="Group 58">
              <a:extLst>
                <a:ext uri="{FF2B5EF4-FFF2-40B4-BE49-F238E27FC236}">
                  <a16:creationId xmlns:a16="http://schemas.microsoft.com/office/drawing/2014/main" id="{C41B3DFB-F3AE-4D87-9B8C-C3589EDBC3BF}"/>
                </a:ext>
              </a:extLst>
            </p:cNvPr>
            <p:cNvGrpSpPr/>
            <p:nvPr/>
          </p:nvGrpSpPr>
          <p:grpSpPr>
            <a:xfrm>
              <a:off x="7422604" y="3667981"/>
              <a:ext cx="271240" cy="545365"/>
              <a:chOff x="2997201" y="4927600"/>
              <a:chExt cx="298450" cy="600075"/>
            </a:xfrm>
            <a:solidFill>
              <a:schemeClr val="accent2"/>
            </a:solidFill>
          </p:grpSpPr>
          <p:sp>
            <p:nvSpPr>
              <p:cNvPr id="60" name="Freeform 95">
                <a:extLst>
                  <a:ext uri="{FF2B5EF4-FFF2-40B4-BE49-F238E27FC236}">
                    <a16:creationId xmlns:a16="http://schemas.microsoft.com/office/drawing/2014/main" id="{A4E6706F-DF42-4FD4-BD99-F4B929D8A947}"/>
                  </a:ext>
                </a:extLst>
              </p:cNvPr>
              <p:cNvSpPr>
                <a:spLocks/>
              </p:cNvSpPr>
              <p:nvPr/>
            </p:nvSpPr>
            <p:spPr bwMode="auto">
              <a:xfrm>
                <a:off x="3008313" y="5010150"/>
                <a:ext cx="287338" cy="209550"/>
              </a:xfrm>
              <a:custGeom>
                <a:avLst/>
                <a:gdLst>
                  <a:gd name="T0" fmla="*/ 37 w 52"/>
                  <a:gd name="T1" fmla="*/ 0 h 38"/>
                  <a:gd name="T2" fmla="*/ 0 w 52"/>
                  <a:gd name="T3" fmla="*/ 22 h 38"/>
                  <a:gd name="T4" fmla="*/ 25 w 52"/>
                  <a:gd name="T5" fmla="*/ 38 h 38"/>
                  <a:gd name="T6" fmla="*/ 52 w 52"/>
                  <a:gd name="T7" fmla="*/ 11 h 38"/>
                  <a:gd name="T8" fmla="*/ 51 w 52"/>
                  <a:gd name="T9" fmla="*/ 10 h 38"/>
                  <a:gd name="T10" fmla="*/ 37 w 52"/>
                  <a:gd name="T11" fmla="*/ 0 h 38"/>
                </a:gdLst>
                <a:ahLst/>
                <a:cxnLst>
                  <a:cxn ang="0">
                    <a:pos x="T0" y="T1"/>
                  </a:cxn>
                  <a:cxn ang="0">
                    <a:pos x="T2" y="T3"/>
                  </a:cxn>
                  <a:cxn ang="0">
                    <a:pos x="T4" y="T5"/>
                  </a:cxn>
                  <a:cxn ang="0">
                    <a:pos x="T6" y="T7"/>
                  </a:cxn>
                  <a:cxn ang="0">
                    <a:pos x="T8" y="T9"/>
                  </a:cxn>
                  <a:cxn ang="0">
                    <a:pos x="T10" y="T11"/>
                  </a:cxn>
                </a:cxnLst>
                <a:rect l="0" t="0" r="r" b="b"/>
                <a:pathLst>
                  <a:path w="52" h="38">
                    <a:moveTo>
                      <a:pt x="37" y="0"/>
                    </a:moveTo>
                    <a:cubicBezTo>
                      <a:pt x="26" y="9"/>
                      <a:pt x="14" y="17"/>
                      <a:pt x="0" y="22"/>
                    </a:cubicBezTo>
                    <a:cubicBezTo>
                      <a:pt x="4" y="31"/>
                      <a:pt x="14" y="38"/>
                      <a:pt x="25" y="38"/>
                    </a:cubicBezTo>
                    <a:cubicBezTo>
                      <a:pt x="40" y="38"/>
                      <a:pt x="52" y="26"/>
                      <a:pt x="52" y="11"/>
                    </a:cubicBezTo>
                    <a:cubicBezTo>
                      <a:pt x="52" y="11"/>
                      <a:pt x="51" y="11"/>
                      <a:pt x="51" y="10"/>
                    </a:cubicBezTo>
                    <a:cubicBezTo>
                      <a:pt x="46" y="8"/>
                      <a:pt x="42" y="4"/>
                      <a:pt x="3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61" name="Freeform 96">
                <a:extLst>
                  <a:ext uri="{FF2B5EF4-FFF2-40B4-BE49-F238E27FC236}">
                    <a16:creationId xmlns:a16="http://schemas.microsoft.com/office/drawing/2014/main" id="{93AA82B9-C8D8-4479-89F3-626EE1519AF3}"/>
                  </a:ext>
                </a:extLst>
              </p:cNvPr>
              <p:cNvSpPr>
                <a:spLocks/>
              </p:cNvSpPr>
              <p:nvPr/>
            </p:nvSpPr>
            <p:spPr bwMode="auto">
              <a:xfrm>
                <a:off x="2997201" y="4927600"/>
                <a:ext cx="292100" cy="176213"/>
              </a:xfrm>
              <a:custGeom>
                <a:avLst/>
                <a:gdLst>
                  <a:gd name="T0" fmla="*/ 46 w 53"/>
                  <a:gd name="T1" fmla="*/ 8 h 32"/>
                  <a:gd name="T2" fmla="*/ 44 w 53"/>
                  <a:gd name="T3" fmla="*/ 6 h 32"/>
                  <a:gd name="T4" fmla="*/ 31 w 53"/>
                  <a:gd name="T5" fmla="*/ 0 h 32"/>
                  <a:gd name="T6" fmla="*/ 28 w 53"/>
                  <a:gd name="T7" fmla="*/ 0 h 32"/>
                  <a:gd name="T8" fmla="*/ 27 w 53"/>
                  <a:gd name="T9" fmla="*/ 0 h 32"/>
                  <a:gd name="T10" fmla="*/ 0 w 53"/>
                  <a:gd name="T11" fmla="*/ 26 h 32"/>
                  <a:gd name="T12" fmla="*/ 1 w 53"/>
                  <a:gd name="T13" fmla="*/ 32 h 32"/>
                  <a:gd name="T14" fmla="*/ 39 w 53"/>
                  <a:gd name="T15" fmla="*/ 10 h 32"/>
                  <a:gd name="T16" fmla="*/ 53 w 53"/>
                  <a:gd name="T17" fmla="*/ 22 h 32"/>
                  <a:gd name="T18" fmla="*/ 46 w 53"/>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32">
                    <a:moveTo>
                      <a:pt x="46" y="8"/>
                    </a:moveTo>
                    <a:cubicBezTo>
                      <a:pt x="45" y="7"/>
                      <a:pt x="45" y="6"/>
                      <a:pt x="44" y="6"/>
                    </a:cubicBezTo>
                    <a:cubicBezTo>
                      <a:pt x="40" y="3"/>
                      <a:pt x="36" y="1"/>
                      <a:pt x="31" y="0"/>
                    </a:cubicBezTo>
                    <a:cubicBezTo>
                      <a:pt x="30" y="0"/>
                      <a:pt x="29" y="0"/>
                      <a:pt x="28" y="0"/>
                    </a:cubicBezTo>
                    <a:cubicBezTo>
                      <a:pt x="28" y="0"/>
                      <a:pt x="27" y="0"/>
                      <a:pt x="27" y="0"/>
                    </a:cubicBezTo>
                    <a:cubicBezTo>
                      <a:pt x="12" y="0"/>
                      <a:pt x="0" y="12"/>
                      <a:pt x="0" y="26"/>
                    </a:cubicBezTo>
                    <a:cubicBezTo>
                      <a:pt x="0" y="28"/>
                      <a:pt x="0" y="30"/>
                      <a:pt x="1" y="32"/>
                    </a:cubicBezTo>
                    <a:cubicBezTo>
                      <a:pt x="23" y="26"/>
                      <a:pt x="38" y="11"/>
                      <a:pt x="39" y="10"/>
                    </a:cubicBezTo>
                    <a:cubicBezTo>
                      <a:pt x="39" y="11"/>
                      <a:pt x="48" y="21"/>
                      <a:pt x="53" y="22"/>
                    </a:cubicBezTo>
                    <a:cubicBezTo>
                      <a:pt x="52" y="17"/>
                      <a:pt x="50" y="12"/>
                      <a:pt x="4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62" name="Freeform 97">
                <a:extLst>
                  <a:ext uri="{FF2B5EF4-FFF2-40B4-BE49-F238E27FC236}">
                    <a16:creationId xmlns:a16="http://schemas.microsoft.com/office/drawing/2014/main" id="{303D70A8-57FD-4763-B8DE-D269FFDAEA49}"/>
                  </a:ext>
                </a:extLst>
              </p:cNvPr>
              <p:cNvSpPr>
                <a:spLocks noEditPoints="1"/>
              </p:cNvSpPr>
              <p:nvPr/>
            </p:nvSpPr>
            <p:spPr bwMode="auto">
              <a:xfrm>
                <a:off x="2997201" y="5251450"/>
                <a:ext cx="298450" cy="276225"/>
              </a:xfrm>
              <a:custGeom>
                <a:avLst/>
                <a:gdLst>
                  <a:gd name="T0" fmla="*/ 54 w 54"/>
                  <a:gd name="T1" fmla="*/ 21 h 50"/>
                  <a:gd name="T2" fmla="*/ 43 w 54"/>
                  <a:gd name="T3" fmla="*/ 0 h 50"/>
                  <a:gd name="T4" fmla="*/ 30 w 54"/>
                  <a:gd name="T5" fmla="*/ 16 h 50"/>
                  <a:gd name="T6" fmla="*/ 30 w 54"/>
                  <a:gd name="T7" fmla="*/ 9 h 50"/>
                  <a:gd name="T8" fmla="*/ 28 w 54"/>
                  <a:gd name="T9" fmla="*/ 9 h 50"/>
                  <a:gd name="T10" fmla="*/ 26 w 54"/>
                  <a:gd name="T11" fmla="*/ 9 h 50"/>
                  <a:gd name="T12" fmla="*/ 24 w 54"/>
                  <a:gd name="T13" fmla="*/ 9 h 50"/>
                  <a:gd name="T14" fmla="*/ 24 w 54"/>
                  <a:gd name="T15" fmla="*/ 16 h 50"/>
                  <a:gd name="T16" fmla="*/ 10 w 54"/>
                  <a:gd name="T17" fmla="*/ 0 h 50"/>
                  <a:gd name="T18" fmla="*/ 0 w 54"/>
                  <a:gd name="T19" fmla="*/ 21 h 50"/>
                  <a:gd name="T20" fmla="*/ 0 w 54"/>
                  <a:gd name="T21" fmla="*/ 21 h 50"/>
                  <a:gd name="T22" fmla="*/ 0 w 54"/>
                  <a:gd name="T23" fmla="*/ 50 h 50"/>
                  <a:gd name="T24" fmla="*/ 54 w 54"/>
                  <a:gd name="T25" fmla="*/ 50 h 50"/>
                  <a:gd name="T26" fmla="*/ 54 w 54"/>
                  <a:gd name="T27" fmla="*/ 21 h 50"/>
                  <a:gd name="T28" fmla="*/ 47 w 54"/>
                  <a:gd name="T29" fmla="*/ 27 h 50"/>
                  <a:gd name="T30" fmla="*/ 34 w 54"/>
                  <a:gd name="T31" fmla="*/ 27 h 50"/>
                  <a:gd name="T32" fmla="*/ 34 w 54"/>
                  <a:gd name="T33" fmla="*/ 24 h 50"/>
                  <a:gd name="T34" fmla="*/ 47 w 54"/>
                  <a:gd name="T35" fmla="*/ 24 h 50"/>
                  <a:gd name="T36" fmla="*/ 47 w 54"/>
                  <a:gd name="T37" fmla="*/ 26 h 50"/>
                  <a:gd name="T38" fmla="*/ 47 w 54"/>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0">
                    <a:moveTo>
                      <a:pt x="54" y="21"/>
                    </a:moveTo>
                    <a:cubicBezTo>
                      <a:pt x="53" y="12"/>
                      <a:pt x="50" y="5"/>
                      <a:pt x="43" y="0"/>
                    </a:cubicBezTo>
                    <a:cubicBezTo>
                      <a:pt x="30" y="16"/>
                      <a:pt x="30" y="16"/>
                      <a:pt x="30" y="16"/>
                    </a:cubicBezTo>
                    <a:cubicBezTo>
                      <a:pt x="30" y="9"/>
                      <a:pt x="30" y="9"/>
                      <a:pt x="30" y="9"/>
                    </a:cubicBezTo>
                    <a:cubicBezTo>
                      <a:pt x="29" y="9"/>
                      <a:pt x="29" y="9"/>
                      <a:pt x="28" y="9"/>
                    </a:cubicBezTo>
                    <a:cubicBezTo>
                      <a:pt x="26" y="9"/>
                      <a:pt x="26" y="9"/>
                      <a:pt x="26" y="9"/>
                    </a:cubicBezTo>
                    <a:cubicBezTo>
                      <a:pt x="25" y="9"/>
                      <a:pt x="25" y="9"/>
                      <a:pt x="24" y="9"/>
                    </a:cubicBezTo>
                    <a:cubicBezTo>
                      <a:pt x="24" y="16"/>
                      <a:pt x="24" y="16"/>
                      <a:pt x="24" y="16"/>
                    </a:cubicBezTo>
                    <a:cubicBezTo>
                      <a:pt x="10" y="0"/>
                      <a:pt x="10" y="0"/>
                      <a:pt x="10" y="0"/>
                    </a:cubicBezTo>
                    <a:cubicBezTo>
                      <a:pt x="4" y="5"/>
                      <a:pt x="0" y="12"/>
                      <a:pt x="0" y="21"/>
                    </a:cubicBezTo>
                    <a:cubicBezTo>
                      <a:pt x="0" y="21"/>
                      <a:pt x="0" y="21"/>
                      <a:pt x="0" y="21"/>
                    </a:cubicBezTo>
                    <a:cubicBezTo>
                      <a:pt x="0" y="50"/>
                      <a:pt x="0" y="50"/>
                      <a:pt x="0" y="50"/>
                    </a:cubicBezTo>
                    <a:cubicBezTo>
                      <a:pt x="54" y="50"/>
                      <a:pt x="54" y="50"/>
                      <a:pt x="54" y="50"/>
                    </a:cubicBezTo>
                    <a:cubicBezTo>
                      <a:pt x="54" y="21"/>
                      <a:pt x="54" y="21"/>
                      <a:pt x="54" y="21"/>
                    </a:cubicBezTo>
                    <a:close/>
                    <a:moveTo>
                      <a:pt x="47" y="27"/>
                    </a:moveTo>
                    <a:cubicBezTo>
                      <a:pt x="34" y="27"/>
                      <a:pt x="34" y="27"/>
                      <a:pt x="34" y="27"/>
                    </a:cubicBezTo>
                    <a:cubicBezTo>
                      <a:pt x="34" y="24"/>
                      <a:pt x="34" y="24"/>
                      <a:pt x="34" y="24"/>
                    </a:cubicBezTo>
                    <a:cubicBezTo>
                      <a:pt x="47" y="24"/>
                      <a:pt x="47" y="24"/>
                      <a:pt x="47" y="24"/>
                    </a:cubicBezTo>
                    <a:cubicBezTo>
                      <a:pt x="47" y="26"/>
                      <a:pt x="47" y="26"/>
                      <a:pt x="47" y="26"/>
                    </a:cubicBezTo>
                    <a:lnTo>
                      <a:pt x="47" y="27"/>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63" name="Freeform 98">
                <a:extLst>
                  <a:ext uri="{FF2B5EF4-FFF2-40B4-BE49-F238E27FC236}">
                    <a16:creationId xmlns:a16="http://schemas.microsoft.com/office/drawing/2014/main" id="{25A5CB33-B7FC-467E-BB47-DDAAD43995C0}"/>
                  </a:ext>
                </a:extLst>
              </p:cNvPr>
              <p:cNvSpPr>
                <a:spLocks/>
              </p:cNvSpPr>
              <p:nvPr/>
            </p:nvSpPr>
            <p:spPr bwMode="auto">
              <a:xfrm>
                <a:off x="3117851" y="5235575"/>
                <a:ext cx="55563" cy="55563"/>
              </a:xfrm>
              <a:custGeom>
                <a:avLst/>
                <a:gdLst>
                  <a:gd name="T0" fmla="*/ 9 w 10"/>
                  <a:gd name="T1" fmla="*/ 8 h 10"/>
                  <a:gd name="T2" fmla="*/ 9 w 10"/>
                  <a:gd name="T3" fmla="*/ 8 h 10"/>
                  <a:gd name="T4" fmla="*/ 10 w 10"/>
                  <a:gd name="T5" fmla="*/ 8 h 10"/>
                  <a:gd name="T6" fmla="*/ 10 w 10"/>
                  <a:gd name="T7" fmla="*/ 7 h 10"/>
                  <a:gd name="T8" fmla="*/ 10 w 10"/>
                  <a:gd name="T9" fmla="*/ 7 h 10"/>
                  <a:gd name="T10" fmla="*/ 10 w 10"/>
                  <a:gd name="T11" fmla="*/ 7 h 10"/>
                  <a:gd name="T12" fmla="*/ 10 w 10"/>
                  <a:gd name="T13" fmla="*/ 4 h 10"/>
                  <a:gd name="T14" fmla="*/ 6 w 10"/>
                  <a:gd name="T15" fmla="*/ 0 h 10"/>
                  <a:gd name="T16" fmla="*/ 4 w 10"/>
                  <a:gd name="T17" fmla="*/ 0 h 10"/>
                  <a:gd name="T18" fmla="*/ 0 w 10"/>
                  <a:gd name="T19" fmla="*/ 4 h 10"/>
                  <a:gd name="T20" fmla="*/ 0 w 10"/>
                  <a:gd name="T21" fmla="*/ 7 h 10"/>
                  <a:gd name="T22" fmla="*/ 0 w 10"/>
                  <a:gd name="T23" fmla="*/ 7 h 10"/>
                  <a:gd name="T24" fmla="*/ 0 w 10"/>
                  <a:gd name="T25" fmla="*/ 7 h 10"/>
                  <a:gd name="T26" fmla="*/ 0 w 10"/>
                  <a:gd name="T27" fmla="*/ 8 h 10"/>
                  <a:gd name="T28" fmla="*/ 0 w 10"/>
                  <a:gd name="T29" fmla="*/ 8 h 10"/>
                  <a:gd name="T30" fmla="*/ 0 w 10"/>
                  <a:gd name="T31" fmla="*/ 8 h 10"/>
                  <a:gd name="T32" fmla="*/ 1 w 10"/>
                  <a:gd name="T33" fmla="*/ 9 h 10"/>
                  <a:gd name="T34" fmla="*/ 1 w 10"/>
                  <a:gd name="T35" fmla="*/ 9 h 10"/>
                  <a:gd name="T36" fmla="*/ 1 w 10"/>
                  <a:gd name="T37" fmla="*/ 9 h 10"/>
                  <a:gd name="T38" fmla="*/ 1 w 10"/>
                  <a:gd name="T39" fmla="*/ 9 h 10"/>
                  <a:gd name="T40" fmla="*/ 2 w 10"/>
                  <a:gd name="T41" fmla="*/ 10 h 10"/>
                  <a:gd name="T42" fmla="*/ 2 w 10"/>
                  <a:gd name="T43" fmla="*/ 10 h 10"/>
                  <a:gd name="T44" fmla="*/ 3 w 10"/>
                  <a:gd name="T45" fmla="*/ 10 h 10"/>
                  <a:gd name="T46" fmla="*/ 4 w 10"/>
                  <a:gd name="T47" fmla="*/ 10 h 10"/>
                  <a:gd name="T48" fmla="*/ 6 w 10"/>
                  <a:gd name="T49" fmla="*/ 10 h 10"/>
                  <a:gd name="T50" fmla="*/ 7 w 10"/>
                  <a:gd name="T51" fmla="*/ 10 h 10"/>
                  <a:gd name="T52" fmla="*/ 8 w 10"/>
                  <a:gd name="T53" fmla="*/ 10 h 10"/>
                  <a:gd name="T54" fmla="*/ 8 w 10"/>
                  <a:gd name="T55" fmla="*/ 10 h 10"/>
                  <a:gd name="T56" fmla="*/ 8 w 10"/>
                  <a:gd name="T57" fmla="*/ 9 h 10"/>
                  <a:gd name="T58" fmla="*/ 8 w 10"/>
                  <a:gd name="T59" fmla="*/ 9 h 10"/>
                  <a:gd name="T60" fmla="*/ 9 w 10"/>
                  <a:gd name="T61" fmla="*/ 9 h 10"/>
                  <a:gd name="T62" fmla="*/ 9 w 10"/>
                  <a:gd name="T63" fmla="*/ 9 h 10"/>
                  <a:gd name="T64" fmla="*/ 9 w 10"/>
                  <a:gd name="T6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0">
                    <a:moveTo>
                      <a:pt x="9" y="8"/>
                    </a:moveTo>
                    <a:cubicBezTo>
                      <a:pt x="9" y="8"/>
                      <a:pt x="9" y="8"/>
                      <a:pt x="9" y="8"/>
                    </a:cubicBezTo>
                    <a:cubicBezTo>
                      <a:pt x="10" y="8"/>
                      <a:pt x="10" y="8"/>
                      <a:pt x="10" y="8"/>
                    </a:cubicBezTo>
                    <a:cubicBezTo>
                      <a:pt x="10" y="8"/>
                      <a:pt x="10" y="8"/>
                      <a:pt x="10" y="7"/>
                    </a:cubicBezTo>
                    <a:cubicBezTo>
                      <a:pt x="10" y="7"/>
                      <a:pt x="10" y="7"/>
                      <a:pt x="10" y="7"/>
                    </a:cubicBezTo>
                    <a:cubicBezTo>
                      <a:pt x="10" y="7"/>
                      <a:pt x="10" y="7"/>
                      <a:pt x="10" y="7"/>
                    </a:cubicBezTo>
                    <a:cubicBezTo>
                      <a:pt x="10" y="4"/>
                      <a:pt x="10" y="4"/>
                      <a:pt x="10" y="4"/>
                    </a:cubicBezTo>
                    <a:cubicBezTo>
                      <a:pt x="10" y="2"/>
                      <a:pt x="8" y="0"/>
                      <a:pt x="6" y="0"/>
                    </a:cubicBezTo>
                    <a:cubicBezTo>
                      <a:pt x="4" y="0"/>
                      <a:pt x="4" y="0"/>
                      <a:pt x="4" y="0"/>
                    </a:cubicBezTo>
                    <a:cubicBezTo>
                      <a:pt x="1" y="0"/>
                      <a:pt x="0" y="2"/>
                      <a:pt x="0" y="4"/>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9"/>
                      <a:pt x="1" y="9"/>
                    </a:cubicBezTo>
                    <a:cubicBezTo>
                      <a:pt x="1" y="9"/>
                      <a:pt x="1" y="9"/>
                      <a:pt x="1" y="9"/>
                    </a:cubicBezTo>
                    <a:cubicBezTo>
                      <a:pt x="1" y="9"/>
                      <a:pt x="1" y="9"/>
                      <a:pt x="1" y="9"/>
                    </a:cubicBezTo>
                    <a:cubicBezTo>
                      <a:pt x="1" y="9"/>
                      <a:pt x="1" y="9"/>
                      <a:pt x="1" y="9"/>
                    </a:cubicBezTo>
                    <a:cubicBezTo>
                      <a:pt x="1" y="10"/>
                      <a:pt x="2" y="10"/>
                      <a:pt x="2" y="10"/>
                    </a:cubicBezTo>
                    <a:cubicBezTo>
                      <a:pt x="2" y="10"/>
                      <a:pt x="2" y="10"/>
                      <a:pt x="2" y="10"/>
                    </a:cubicBezTo>
                    <a:cubicBezTo>
                      <a:pt x="2" y="10"/>
                      <a:pt x="2" y="10"/>
                      <a:pt x="3" y="10"/>
                    </a:cubicBezTo>
                    <a:cubicBezTo>
                      <a:pt x="3" y="10"/>
                      <a:pt x="3" y="10"/>
                      <a:pt x="4" y="10"/>
                    </a:cubicBezTo>
                    <a:cubicBezTo>
                      <a:pt x="6" y="10"/>
                      <a:pt x="6" y="10"/>
                      <a:pt x="6" y="10"/>
                    </a:cubicBezTo>
                    <a:cubicBezTo>
                      <a:pt x="6" y="10"/>
                      <a:pt x="7" y="10"/>
                      <a:pt x="7" y="10"/>
                    </a:cubicBezTo>
                    <a:cubicBezTo>
                      <a:pt x="7" y="10"/>
                      <a:pt x="8" y="10"/>
                      <a:pt x="8" y="10"/>
                    </a:cubicBezTo>
                    <a:cubicBezTo>
                      <a:pt x="8" y="10"/>
                      <a:pt x="8" y="10"/>
                      <a:pt x="8" y="10"/>
                    </a:cubicBezTo>
                    <a:cubicBezTo>
                      <a:pt x="8" y="10"/>
                      <a:pt x="8" y="10"/>
                      <a:pt x="8" y="9"/>
                    </a:cubicBezTo>
                    <a:cubicBezTo>
                      <a:pt x="8" y="9"/>
                      <a:pt x="8" y="9"/>
                      <a:pt x="8" y="9"/>
                    </a:cubicBezTo>
                    <a:cubicBezTo>
                      <a:pt x="9" y="9"/>
                      <a:pt x="9" y="9"/>
                      <a:pt x="9" y="9"/>
                    </a:cubicBezTo>
                    <a:cubicBezTo>
                      <a:pt x="9" y="9"/>
                      <a:pt x="9" y="9"/>
                      <a:pt x="9" y="9"/>
                    </a:cubicBezTo>
                    <a:cubicBezTo>
                      <a:pt x="9" y="9"/>
                      <a:pt x="9" y="8"/>
                      <a:pt x="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69" name="TextBox 68">
              <a:extLst>
                <a:ext uri="{FF2B5EF4-FFF2-40B4-BE49-F238E27FC236}">
                  <a16:creationId xmlns:a16="http://schemas.microsoft.com/office/drawing/2014/main" id="{D660A072-DFBB-4936-95BF-01DEE4F7CF2D}"/>
                </a:ext>
              </a:extLst>
            </p:cNvPr>
            <p:cNvSpPr txBox="1"/>
            <p:nvPr/>
          </p:nvSpPr>
          <p:spPr>
            <a:xfrm>
              <a:off x="7779554" y="3763211"/>
              <a:ext cx="1141338" cy="369332"/>
            </a:xfrm>
            <a:prstGeom prst="rect">
              <a:avLst/>
            </a:prstGeom>
            <a:noFill/>
          </p:spPr>
          <p:txBody>
            <a:bodyPr wrap="none" lIns="0" tIns="0" rIns="0" bIns="0" rtlCol="0">
              <a:spAutoFit/>
            </a:bodyPr>
            <a:lstStyle/>
            <a:p>
              <a:pPr algn="ctr"/>
              <a:r>
                <a:rPr lang="en-US" sz="1200">
                  <a:solidFill>
                    <a:schemeClr val="tx2"/>
                  </a:solidFill>
                </a:rPr>
                <a:t>Other Medicaid,</a:t>
              </a:r>
            </a:p>
            <a:p>
              <a:pPr algn="ctr"/>
              <a:r>
                <a:rPr lang="en-US" sz="1200">
                  <a:solidFill>
                    <a:schemeClr val="tx2"/>
                  </a:solidFill>
                </a:rPr>
                <a:t>GIC</a:t>
              </a:r>
            </a:p>
          </p:txBody>
        </p:sp>
        <p:grpSp>
          <p:nvGrpSpPr>
            <p:cNvPr id="26" name="Group 25">
              <a:extLst>
                <a:ext uri="{FF2B5EF4-FFF2-40B4-BE49-F238E27FC236}">
                  <a16:creationId xmlns:a16="http://schemas.microsoft.com/office/drawing/2014/main" id="{899AB3C6-D04B-467B-80AD-71290C5FD607}"/>
                </a:ext>
              </a:extLst>
            </p:cNvPr>
            <p:cNvGrpSpPr/>
            <p:nvPr/>
          </p:nvGrpSpPr>
          <p:grpSpPr>
            <a:xfrm>
              <a:off x="8947612" y="4404269"/>
              <a:ext cx="2721693" cy="1042788"/>
              <a:chOff x="8947612" y="4404269"/>
              <a:chExt cx="2721693" cy="1042788"/>
            </a:xfrm>
          </p:grpSpPr>
          <p:grpSp>
            <p:nvGrpSpPr>
              <p:cNvPr id="24" name="Group 23">
                <a:extLst>
                  <a:ext uri="{FF2B5EF4-FFF2-40B4-BE49-F238E27FC236}">
                    <a16:creationId xmlns:a16="http://schemas.microsoft.com/office/drawing/2014/main" id="{23994B4D-AEEA-4C88-8DDA-6E7C6CD827FD}"/>
                  </a:ext>
                </a:extLst>
              </p:cNvPr>
              <p:cNvGrpSpPr/>
              <p:nvPr/>
            </p:nvGrpSpPr>
            <p:grpSpPr>
              <a:xfrm>
                <a:off x="8947612" y="4404269"/>
                <a:ext cx="2721693" cy="1042788"/>
                <a:chOff x="8947612" y="4404269"/>
                <a:chExt cx="2721693" cy="1042788"/>
              </a:xfrm>
            </p:grpSpPr>
            <p:grpSp>
              <p:nvGrpSpPr>
                <p:cNvPr id="23" name="Group 22">
                  <a:extLst>
                    <a:ext uri="{FF2B5EF4-FFF2-40B4-BE49-F238E27FC236}">
                      <a16:creationId xmlns:a16="http://schemas.microsoft.com/office/drawing/2014/main" id="{4AC32419-BA63-4713-9301-A226CFD32889}"/>
                    </a:ext>
                  </a:extLst>
                </p:cNvPr>
                <p:cNvGrpSpPr/>
                <p:nvPr/>
              </p:nvGrpSpPr>
              <p:grpSpPr>
                <a:xfrm>
                  <a:off x="8947612" y="4404269"/>
                  <a:ext cx="2721693" cy="1042788"/>
                  <a:chOff x="8947612" y="4404269"/>
                  <a:chExt cx="2721693" cy="1042788"/>
                </a:xfrm>
              </p:grpSpPr>
              <p:sp>
                <p:nvSpPr>
                  <p:cNvPr id="19" name="Rectangle 18">
                    <a:extLst>
                      <a:ext uri="{FF2B5EF4-FFF2-40B4-BE49-F238E27FC236}">
                        <a16:creationId xmlns:a16="http://schemas.microsoft.com/office/drawing/2014/main" id="{2D133A89-F002-41DF-BE8A-052612A491AC}"/>
                      </a:ext>
                    </a:extLst>
                  </p:cNvPr>
                  <p:cNvSpPr/>
                  <p:nvPr/>
                </p:nvSpPr>
                <p:spPr bwMode="gray">
                  <a:xfrm>
                    <a:off x="8947612" y="4404269"/>
                    <a:ext cx="2721693" cy="104278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200" b="1">
                      <a:solidFill>
                        <a:schemeClr val="tx2"/>
                      </a:solidFill>
                    </a:endParaRPr>
                  </a:p>
                </p:txBody>
              </p:sp>
              <p:sp>
                <p:nvSpPr>
                  <p:cNvPr id="17" name="Flowchart: Magnetic Disk 16">
                    <a:extLst>
                      <a:ext uri="{FF2B5EF4-FFF2-40B4-BE49-F238E27FC236}">
                        <a16:creationId xmlns:a16="http://schemas.microsoft.com/office/drawing/2014/main" id="{C1BA304E-4D00-4467-9A6C-60D0F96B1272}"/>
                      </a:ext>
                    </a:extLst>
                  </p:cNvPr>
                  <p:cNvSpPr/>
                  <p:nvPr/>
                </p:nvSpPr>
                <p:spPr bwMode="gray">
                  <a:xfrm>
                    <a:off x="9075907" y="4736173"/>
                    <a:ext cx="1007828" cy="516763"/>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Raw</a:t>
                    </a:r>
                  </a:p>
                  <a:p>
                    <a:pPr algn="ctr"/>
                    <a:r>
                      <a:rPr lang="en-US" sz="1200">
                        <a:solidFill>
                          <a:schemeClr val="bg1"/>
                        </a:solidFill>
                      </a:rPr>
                      <a:t>Data</a:t>
                    </a:r>
                  </a:p>
                </p:txBody>
              </p:sp>
            </p:grpSp>
            <p:sp>
              <p:nvSpPr>
                <p:cNvPr id="18" name="Flowchart: Magnetic Disk 17">
                  <a:extLst>
                    <a:ext uri="{FF2B5EF4-FFF2-40B4-BE49-F238E27FC236}">
                      <a16:creationId xmlns:a16="http://schemas.microsoft.com/office/drawing/2014/main" id="{1FD44B30-90FA-490E-A024-06171BB7986B}"/>
                    </a:ext>
                  </a:extLst>
                </p:cNvPr>
                <p:cNvSpPr/>
                <p:nvPr/>
              </p:nvSpPr>
              <p:spPr bwMode="gray">
                <a:xfrm>
                  <a:off x="10558205" y="4729383"/>
                  <a:ext cx="1007828" cy="516763"/>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Conformed</a:t>
                  </a:r>
                </a:p>
                <a:p>
                  <a:pPr algn="ctr"/>
                  <a:r>
                    <a:rPr lang="en-US" sz="1200">
                      <a:solidFill>
                        <a:schemeClr val="bg1"/>
                      </a:solidFill>
                    </a:rPr>
                    <a:t>Data</a:t>
                  </a:r>
                </a:p>
              </p:txBody>
            </p:sp>
          </p:grpSp>
          <p:sp>
            <p:nvSpPr>
              <p:cNvPr id="35" name="TextBox 34">
                <a:extLst>
                  <a:ext uri="{FF2B5EF4-FFF2-40B4-BE49-F238E27FC236}">
                    <a16:creationId xmlns:a16="http://schemas.microsoft.com/office/drawing/2014/main" id="{2ACAE726-6B31-4DBD-9287-68684D0D1267}"/>
                  </a:ext>
                </a:extLst>
              </p:cNvPr>
              <p:cNvSpPr txBox="1"/>
              <p:nvPr/>
            </p:nvSpPr>
            <p:spPr>
              <a:xfrm>
                <a:off x="9824119" y="4440085"/>
                <a:ext cx="871166" cy="203695"/>
              </a:xfrm>
              <a:prstGeom prst="rect">
                <a:avLst/>
              </a:prstGeom>
              <a:noFill/>
            </p:spPr>
            <p:txBody>
              <a:bodyPr wrap="none" lIns="0" tIns="0" rIns="0" bIns="0" rtlCol="0">
                <a:spAutoFit/>
              </a:bodyPr>
              <a:lstStyle/>
              <a:p>
                <a:r>
                  <a:rPr lang="en-US" sz="1400" b="1">
                    <a:solidFill>
                      <a:schemeClr val="tx2"/>
                    </a:solidFill>
                  </a:rPr>
                  <a:t>Data Lake</a:t>
                </a:r>
              </a:p>
            </p:txBody>
          </p:sp>
        </p:grpSp>
      </p:grpSp>
      <p:cxnSp>
        <p:nvCxnSpPr>
          <p:cNvPr id="170" name="Straight Arrow Connector 169">
            <a:extLst>
              <a:ext uri="{FF2B5EF4-FFF2-40B4-BE49-F238E27FC236}">
                <a16:creationId xmlns:a16="http://schemas.microsoft.com/office/drawing/2014/main" id="{22C87227-5D49-40A2-A3BC-8592EC3CD579}"/>
              </a:ext>
            </a:extLst>
          </p:cNvPr>
          <p:cNvCxnSpPr>
            <a:cxnSpLocks/>
            <a:stCxn id="17" idx="4"/>
            <a:endCxn id="18" idx="2"/>
          </p:cNvCxnSpPr>
          <p:nvPr/>
        </p:nvCxnSpPr>
        <p:spPr>
          <a:xfrm flipV="1">
            <a:off x="10083735" y="5107033"/>
            <a:ext cx="474470" cy="679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03" name="Straight Arrow Connector 202">
            <a:extLst>
              <a:ext uri="{FF2B5EF4-FFF2-40B4-BE49-F238E27FC236}">
                <a16:creationId xmlns:a16="http://schemas.microsoft.com/office/drawing/2014/main" id="{C8A4CE5A-2494-44D7-B7F2-6D9571F3E921}"/>
              </a:ext>
            </a:extLst>
          </p:cNvPr>
          <p:cNvCxnSpPr>
            <a:cxnSpLocks/>
            <a:stCxn id="9" idx="3"/>
            <a:endCxn id="11" idx="2"/>
          </p:cNvCxnSpPr>
          <p:nvPr/>
        </p:nvCxnSpPr>
        <p:spPr>
          <a:xfrm>
            <a:off x="3634516" y="3492561"/>
            <a:ext cx="457433" cy="168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5" name="Straight Arrow Connector 24">
            <a:extLst>
              <a:ext uri="{FF2B5EF4-FFF2-40B4-BE49-F238E27FC236}">
                <a16:creationId xmlns:a16="http://schemas.microsoft.com/office/drawing/2014/main" id="{0FD92F1F-404B-4B75-922F-DC7CBDD99712}"/>
              </a:ext>
            </a:extLst>
          </p:cNvPr>
          <p:cNvCxnSpPr>
            <a:cxnSpLocks/>
            <a:stCxn id="12" idx="2"/>
          </p:cNvCxnSpPr>
          <p:nvPr/>
        </p:nvCxnSpPr>
        <p:spPr>
          <a:xfrm flipH="1">
            <a:off x="3478591" y="2110788"/>
            <a:ext cx="1251909" cy="116187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217" name="Group 216">
            <a:extLst>
              <a:ext uri="{FF2B5EF4-FFF2-40B4-BE49-F238E27FC236}">
                <a16:creationId xmlns:a16="http://schemas.microsoft.com/office/drawing/2014/main" id="{9E5C4412-7EC4-487F-854E-0A306D3FA7D8}"/>
              </a:ext>
            </a:extLst>
          </p:cNvPr>
          <p:cNvGrpSpPr/>
          <p:nvPr/>
        </p:nvGrpSpPr>
        <p:grpSpPr>
          <a:xfrm>
            <a:off x="2972300" y="1669048"/>
            <a:ext cx="265469" cy="545365"/>
            <a:chOff x="3427413" y="4927600"/>
            <a:chExt cx="292100" cy="600075"/>
          </a:xfrm>
          <a:solidFill>
            <a:schemeClr val="accent2"/>
          </a:solidFill>
        </p:grpSpPr>
        <p:sp>
          <p:nvSpPr>
            <p:cNvPr id="218" name="Freeform 34">
              <a:extLst>
                <a:ext uri="{FF2B5EF4-FFF2-40B4-BE49-F238E27FC236}">
                  <a16:creationId xmlns:a16="http://schemas.microsoft.com/office/drawing/2014/main" id="{4885E0D4-E026-4EE0-830D-94AB21A59C92}"/>
                </a:ext>
              </a:extLst>
            </p:cNvPr>
            <p:cNvSpPr>
              <a:spLocks/>
            </p:cNvSpPr>
            <p:nvPr/>
          </p:nvSpPr>
          <p:spPr bwMode="auto">
            <a:xfrm>
              <a:off x="3548063" y="5235575"/>
              <a:ext cx="55563" cy="55563"/>
            </a:xfrm>
            <a:custGeom>
              <a:avLst/>
              <a:gdLst>
                <a:gd name="T0" fmla="*/ 9 w 10"/>
                <a:gd name="T1" fmla="*/ 8 h 10"/>
                <a:gd name="T2" fmla="*/ 9 w 10"/>
                <a:gd name="T3" fmla="*/ 8 h 10"/>
                <a:gd name="T4" fmla="*/ 9 w 10"/>
                <a:gd name="T5" fmla="*/ 8 h 10"/>
                <a:gd name="T6" fmla="*/ 10 w 10"/>
                <a:gd name="T7" fmla="*/ 7 h 10"/>
                <a:gd name="T8" fmla="*/ 10 w 10"/>
                <a:gd name="T9" fmla="*/ 7 h 10"/>
                <a:gd name="T10" fmla="*/ 10 w 10"/>
                <a:gd name="T11" fmla="*/ 7 h 10"/>
                <a:gd name="T12" fmla="*/ 10 w 10"/>
                <a:gd name="T13" fmla="*/ 4 h 10"/>
                <a:gd name="T14" fmla="*/ 6 w 10"/>
                <a:gd name="T15" fmla="*/ 0 h 10"/>
                <a:gd name="T16" fmla="*/ 3 w 10"/>
                <a:gd name="T17" fmla="*/ 0 h 10"/>
                <a:gd name="T18" fmla="*/ 0 w 10"/>
                <a:gd name="T19" fmla="*/ 4 h 10"/>
                <a:gd name="T20" fmla="*/ 0 w 10"/>
                <a:gd name="T21" fmla="*/ 7 h 10"/>
                <a:gd name="T22" fmla="*/ 0 w 10"/>
                <a:gd name="T23" fmla="*/ 7 h 10"/>
                <a:gd name="T24" fmla="*/ 0 w 10"/>
                <a:gd name="T25" fmla="*/ 7 h 10"/>
                <a:gd name="T26" fmla="*/ 0 w 10"/>
                <a:gd name="T27" fmla="*/ 8 h 10"/>
                <a:gd name="T28" fmla="*/ 0 w 10"/>
                <a:gd name="T29" fmla="*/ 8 h 10"/>
                <a:gd name="T30" fmla="*/ 0 w 10"/>
                <a:gd name="T31" fmla="*/ 8 h 10"/>
                <a:gd name="T32" fmla="*/ 0 w 10"/>
                <a:gd name="T33" fmla="*/ 9 h 10"/>
                <a:gd name="T34" fmla="*/ 0 w 10"/>
                <a:gd name="T35" fmla="*/ 9 h 10"/>
                <a:gd name="T36" fmla="*/ 1 w 10"/>
                <a:gd name="T37" fmla="*/ 9 h 10"/>
                <a:gd name="T38" fmla="*/ 1 w 10"/>
                <a:gd name="T39" fmla="*/ 9 h 10"/>
                <a:gd name="T40" fmla="*/ 1 w 10"/>
                <a:gd name="T41" fmla="*/ 10 h 10"/>
                <a:gd name="T42" fmla="*/ 2 w 10"/>
                <a:gd name="T43" fmla="*/ 10 h 10"/>
                <a:gd name="T44" fmla="*/ 3 w 10"/>
                <a:gd name="T45" fmla="*/ 10 h 10"/>
                <a:gd name="T46" fmla="*/ 3 w 10"/>
                <a:gd name="T47" fmla="*/ 10 h 10"/>
                <a:gd name="T48" fmla="*/ 6 w 10"/>
                <a:gd name="T49" fmla="*/ 10 h 10"/>
                <a:gd name="T50" fmla="*/ 7 w 10"/>
                <a:gd name="T51" fmla="*/ 10 h 10"/>
                <a:gd name="T52" fmla="*/ 8 w 10"/>
                <a:gd name="T53" fmla="*/ 10 h 10"/>
                <a:gd name="T54" fmla="*/ 8 w 10"/>
                <a:gd name="T55" fmla="*/ 10 h 10"/>
                <a:gd name="T56" fmla="*/ 8 w 10"/>
                <a:gd name="T57" fmla="*/ 9 h 10"/>
                <a:gd name="T58" fmla="*/ 8 w 10"/>
                <a:gd name="T59" fmla="*/ 9 h 10"/>
                <a:gd name="T60" fmla="*/ 9 w 10"/>
                <a:gd name="T61" fmla="*/ 9 h 10"/>
                <a:gd name="T62" fmla="*/ 9 w 10"/>
                <a:gd name="T63" fmla="*/ 9 h 10"/>
                <a:gd name="T64" fmla="*/ 9 w 10"/>
                <a:gd name="T6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0">
                  <a:moveTo>
                    <a:pt x="9" y="8"/>
                  </a:moveTo>
                  <a:cubicBezTo>
                    <a:pt x="9" y="8"/>
                    <a:pt x="9" y="8"/>
                    <a:pt x="9" y="8"/>
                  </a:cubicBezTo>
                  <a:cubicBezTo>
                    <a:pt x="9" y="8"/>
                    <a:pt x="9" y="8"/>
                    <a:pt x="9" y="8"/>
                  </a:cubicBezTo>
                  <a:cubicBezTo>
                    <a:pt x="9" y="8"/>
                    <a:pt x="9" y="8"/>
                    <a:pt x="10" y="7"/>
                  </a:cubicBezTo>
                  <a:cubicBezTo>
                    <a:pt x="10" y="7"/>
                    <a:pt x="10" y="7"/>
                    <a:pt x="10" y="7"/>
                  </a:cubicBezTo>
                  <a:cubicBezTo>
                    <a:pt x="10" y="7"/>
                    <a:pt x="10" y="7"/>
                    <a:pt x="10" y="7"/>
                  </a:cubicBezTo>
                  <a:cubicBezTo>
                    <a:pt x="10" y="4"/>
                    <a:pt x="10" y="4"/>
                    <a:pt x="10" y="4"/>
                  </a:cubicBezTo>
                  <a:cubicBezTo>
                    <a:pt x="10" y="2"/>
                    <a:pt x="8" y="0"/>
                    <a:pt x="6" y="0"/>
                  </a:cubicBezTo>
                  <a:cubicBezTo>
                    <a:pt x="3" y="0"/>
                    <a:pt x="3" y="0"/>
                    <a:pt x="3" y="0"/>
                  </a:cubicBezTo>
                  <a:cubicBezTo>
                    <a:pt x="1" y="0"/>
                    <a:pt x="0" y="2"/>
                    <a:pt x="0" y="4"/>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1" y="9"/>
                    <a:pt x="1" y="9"/>
                    <a:pt x="1" y="9"/>
                  </a:cubicBezTo>
                  <a:cubicBezTo>
                    <a:pt x="1" y="9"/>
                    <a:pt x="1" y="9"/>
                    <a:pt x="1" y="9"/>
                  </a:cubicBezTo>
                  <a:cubicBezTo>
                    <a:pt x="1" y="10"/>
                    <a:pt x="1" y="10"/>
                    <a:pt x="1" y="10"/>
                  </a:cubicBezTo>
                  <a:cubicBezTo>
                    <a:pt x="2" y="10"/>
                    <a:pt x="2" y="10"/>
                    <a:pt x="2" y="10"/>
                  </a:cubicBezTo>
                  <a:cubicBezTo>
                    <a:pt x="2" y="10"/>
                    <a:pt x="2" y="10"/>
                    <a:pt x="3" y="10"/>
                  </a:cubicBezTo>
                  <a:cubicBezTo>
                    <a:pt x="3" y="10"/>
                    <a:pt x="3" y="10"/>
                    <a:pt x="3" y="10"/>
                  </a:cubicBezTo>
                  <a:cubicBezTo>
                    <a:pt x="6" y="10"/>
                    <a:pt x="6" y="10"/>
                    <a:pt x="6" y="10"/>
                  </a:cubicBezTo>
                  <a:cubicBezTo>
                    <a:pt x="6" y="10"/>
                    <a:pt x="6" y="10"/>
                    <a:pt x="7" y="10"/>
                  </a:cubicBezTo>
                  <a:cubicBezTo>
                    <a:pt x="7" y="10"/>
                    <a:pt x="7" y="10"/>
                    <a:pt x="8" y="10"/>
                  </a:cubicBezTo>
                  <a:cubicBezTo>
                    <a:pt x="8" y="10"/>
                    <a:pt x="8" y="10"/>
                    <a:pt x="8" y="10"/>
                  </a:cubicBezTo>
                  <a:cubicBezTo>
                    <a:pt x="8" y="10"/>
                    <a:pt x="8" y="10"/>
                    <a:pt x="8" y="9"/>
                  </a:cubicBezTo>
                  <a:cubicBezTo>
                    <a:pt x="8" y="9"/>
                    <a:pt x="8" y="9"/>
                    <a:pt x="8" y="9"/>
                  </a:cubicBezTo>
                  <a:cubicBezTo>
                    <a:pt x="8" y="9"/>
                    <a:pt x="9" y="9"/>
                    <a:pt x="9" y="9"/>
                  </a:cubicBezTo>
                  <a:cubicBezTo>
                    <a:pt x="9" y="9"/>
                    <a:pt x="9" y="9"/>
                    <a:pt x="9" y="9"/>
                  </a:cubicBezTo>
                  <a:cubicBezTo>
                    <a:pt x="9" y="9"/>
                    <a:pt x="9" y="8"/>
                    <a:pt x="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219" name="Oval 35">
              <a:extLst>
                <a:ext uri="{FF2B5EF4-FFF2-40B4-BE49-F238E27FC236}">
                  <a16:creationId xmlns:a16="http://schemas.microsoft.com/office/drawing/2014/main" id="{C86CD5BA-9336-46BA-AB72-0ED5CC47E610}"/>
                </a:ext>
              </a:extLst>
            </p:cNvPr>
            <p:cNvSpPr>
              <a:spLocks noChangeArrowheads="1"/>
            </p:cNvSpPr>
            <p:nvPr/>
          </p:nvSpPr>
          <p:spPr bwMode="auto">
            <a:xfrm>
              <a:off x="3427413" y="4927600"/>
              <a:ext cx="292100" cy="29210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220" name="Freeform 36">
              <a:extLst>
                <a:ext uri="{FF2B5EF4-FFF2-40B4-BE49-F238E27FC236}">
                  <a16:creationId xmlns:a16="http://schemas.microsoft.com/office/drawing/2014/main" id="{72F32D43-1626-425D-B770-7523AEA819FA}"/>
                </a:ext>
              </a:extLst>
            </p:cNvPr>
            <p:cNvSpPr>
              <a:spLocks noEditPoints="1"/>
            </p:cNvSpPr>
            <p:nvPr/>
          </p:nvSpPr>
          <p:spPr bwMode="auto">
            <a:xfrm>
              <a:off x="3427413" y="5251450"/>
              <a:ext cx="292100" cy="276225"/>
            </a:xfrm>
            <a:custGeom>
              <a:avLst/>
              <a:gdLst>
                <a:gd name="T0" fmla="*/ 53 w 53"/>
                <a:gd name="T1" fmla="*/ 21 h 50"/>
                <a:gd name="T2" fmla="*/ 43 w 53"/>
                <a:gd name="T3" fmla="*/ 0 h 50"/>
                <a:gd name="T4" fmla="*/ 30 w 53"/>
                <a:gd name="T5" fmla="*/ 16 h 50"/>
                <a:gd name="T6" fmla="*/ 29 w 53"/>
                <a:gd name="T7" fmla="*/ 9 h 50"/>
                <a:gd name="T8" fmla="*/ 28 w 53"/>
                <a:gd name="T9" fmla="*/ 9 h 50"/>
                <a:gd name="T10" fmla="*/ 25 w 53"/>
                <a:gd name="T11" fmla="*/ 9 h 50"/>
                <a:gd name="T12" fmla="*/ 24 w 53"/>
                <a:gd name="T13" fmla="*/ 9 h 50"/>
                <a:gd name="T14" fmla="*/ 23 w 53"/>
                <a:gd name="T15" fmla="*/ 16 h 50"/>
                <a:gd name="T16" fmla="*/ 10 w 53"/>
                <a:gd name="T17" fmla="*/ 0 h 50"/>
                <a:gd name="T18" fmla="*/ 0 w 53"/>
                <a:gd name="T19" fmla="*/ 21 h 50"/>
                <a:gd name="T20" fmla="*/ 0 w 53"/>
                <a:gd name="T21" fmla="*/ 21 h 50"/>
                <a:gd name="T22" fmla="*/ 0 w 53"/>
                <a:gd name="T23" fmla="*/ 50 h 50"/>
                <a:gd name="T24" fmla="*/ 53 w 53"/>
                <a:gd name="T25" fmla="*/ 50 h 50"/>
                <a:gd name="T26" fmla="*/ 53 w 53"/>
                <a:gd name="T27" fmla="*/ 21 h 50"/>
                <a:gd name="T28" fmla="*/ 47 w 53"/>
                <a:gd name="T29" fmla="*/ 27 h 50"/>
                <a:gd name="T30" fmla="*/ 33 w 53"/>
                <a:gd name="T31" fmla="*/ 27 h 50"/>
                <a:gd name="T32" fmla="*/ 33 w 53"/>
                <a:gd name="T33" fmla="*/ 24 h 50"/>
                <a:gd name="T34" fmla="*/ 47 w 53"/>
                <a:gd name="T35" fmla="*/ 24 h 50"/>
                <a:gd name="T36" fmla="*/ 47 w 53"/>
                <a:gd name="T37" fmla="*/ 26 h 50"/>
                <a:gd name="T38" fmla="*/ 47 w 53"/>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50">
                  <a:moveTo>
                    <a:pt x="53" y="21"/>
                  </a:moveTo>
                  <a:cubicBezTo>
                    <a:pt x="53" y="12"/>
                    <a:pt x="49" y="5"/>
                    <a:pt x="43" y="0"/>
                  </a:cubicBezTo>
                  <a:cubicBezTo>
                    <a:pt x="30" y="16"/>
                    <a:pt x="30" y="16"/>
                    <a:pt x="30" y="16"/>
                  </a:cubicBezTo>
                  <a:cubicBezTo>
                    <a:pt x="29" y="9"/>
                    <a:pt x="29" y="9"/>
                    <a:pt x="29" y="9"/>
                  </a:cubicBezTo>
                  <a:cubicBezTo>
                    <a:pt x="29" y="9"/>
                    <a:pt x="28" y="9"/>
                    <a:pt x="28" y="9"/>
                  </a:cubicBezTo>
                  <a:cubicBezTo>
                    <a:pt x="25" y="9"/>
                    <a:pt x="25" y="9"/>
                    <a:pt x="25" y="9"/>
                  </a:cubicBezTo>
                  <a:cubicBezTo>
                    <a:pt x="25" y="9"/>
                    <a:pt x="24" y="9"/>
                    <a:pt x="24" y="9"/>
                  </a:cubicBezTo>
                  <a:cubicBezTo>
                    <a:pt x="23" y="16"/>
                    <a:pt x="23" y="16"/>
                    <a:pt x="23" y="16"/>
                  </a:cubicBezTo>
                  <a:cubicBezTo>
                    <a:pt x="10" y="0"/>
                    <a:pt x="10" y="0"/>
                    <a:pt x="10" y="0"/>
                  </a:cubicBezTo>
                  <a:cubicBezTo>
                    <a:pt x="4" y="5"/>
                    <a:pt x="0" y="12"/>
                    <a:pt x="0" y="21"/>
                  </a:cubicBezTo>
                  <a:cubicBezTo>
                    <a:pt x="0" y="21"/>
                    <a:pt x="0" y="21"/>
                    <a:pt x="0" y="21"/>
                  </a:cubicBezTo>
                  <a:cubicBezTo>
                    <a:pt x="0" y="50"/>
                    <a:pt x="0" y="50"/>
                    <a:pt x="0" y="50"/>
                  </a:cubicBezTo>
                  <a:cubicBezTo>
                    <a:pt x="53" y="50"/>
                    <a:pt x="53" y="50"/>
                    <a:pt x="53" y="50"/>
                  </a:cubicBezTo>
                  <a:cubicBezTo>
                    <a:pt x="53" y="21"/>
                    <a:pt x="53" y="21"/>
                    <a:pt x="53" y="21"/>
                  </a:cubicBezTo>
                  <a:close/>
                  <a:moveTo>
                    <a:pt x="47" y="27"/>
                  </a:moveTo>
                  <a:cubicBezTo>
                    <a:pt x="33" y="27"/>
                    <a:pt x="33" y="27"/>
                    <a:pt x="33" y="27"/>
                  </a:cubicBezTo>
                  <a:cubicBezTo>
                    <a:pt x="33" y="24"/>
                    <a:pt x="33" y="24"/>
                    <a:pt x="33" y="24"/>
                  </a:cubicBezTo>
                  <a:cubicBezTo>
                    <a:pt x="47" y="24"/>
                    <a:pt x="47" y="24"/>
                    <a:pt x="47" y="24"/>
                  </a:cubicBezTo>
                  <a:cubicBezTo>
                    <a:pt x="47" y="26"/>
                    <a:pt x="47" y="26"/>
                    <a:pt x="47" y="26"/>
                  </a:cubicBezTo>
                  <a:lnTo>
                    <a:pt x="47" y="27"/>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51" name="TextBox 50">
            <a:extLst>
              <a:ext uri="{FF2B5EF4-FFF2-40B4-BE49-F238E27FC236}">
                <a16:creationId xmlns:a16="http://schemas.microsoft.com/office/drawing/2014/main" id="{7C2DA789-4AEE-438D-B6B0-82E1F6EC2C72}"/>
              </a:ext>
            </a:extLst>
          </p:cNvPr>
          <p:cNvSpPr txBox="1"/>
          <p:nvPr/>
        </p:nvSpPr>
        <p:spPr>
          <a:xfrm>
            <a:off x="8631526" y="1554291"/>
            <a:ext cx="1346522" cy="200055"/>
          </a:xfrm>
          <a:prstGeom prst="rect">
            <a:avLst/>
          </a:prstGeom>
          <a:noFill/>
        </p:spPr>
        <p:txBody>
          <a:bodyPr wrap="none" lIns="0" tIns="0" rIns="0" bIns="0" rtlCol="0">
            <a:spAutoFit/>
          </a:bodyPr>
          <a:lstStyle/>
          <a:p>
            <a:r>
              <a:rPr lang="en-US" sz="1300" b="1">
                <a:solidFill>
                  <a:schemeClr val="tx2"/>
                </a:solidFill>
              </a:rPr>
              <a:t>Data Consumers</a:t>
            </a:r>
          </a:p>
        </p:txBody>
      </p:sp>
      <p:cxnSp>
        <p:nvCxnSpPr>
          <p:cNvPr id="58" name="Straight Connector 57">
            <a:extLst>
              <a:ext uri="{FF2B5EF4-FFF2-40B4-BE49-F238E27FC236}">
                <a16:creationId xmlns:a16="http://schemas.microsoft.com/office/drawing/2014/main" id="{61486903-F490-4189-A8DE-CBD91F459B18}"/>
              </a:ext>
            </a:extLst>
          </p:cNvPr>
          <p:cNvCxnSpPr>
            <a:cxnSpLocks/>
          </p:cNvCxnSpPr>
          <p:nvPr/>
        </p:nvCxnSpPr>
        <p:spPr>
          <a:xfrm>
            <a:off x="6212221" y="1021404"/>
            <a:ext cx="0" cy="5508605"/>
          </a:xfrm>
          <a:prstGeom prst="line">
            <a:avLst/>
          </a:prstGeom>
          <a:ln w="19050" cmpd="sng">
            <a:solidFill>
              <a:srgbClr val="6464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7260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0657F353-E59F-457A-85B2-BB2DACBD2597}"/>
              </a:ext>
            </a:extLst>
          </p:cNvPr>
          <p:cNvSpPr/>
          <p:nvPr/>
        </p:nvSpPr>
        <p:spPr bwMode="gray">
          <a:xfrm>
            <a:off x="6794840" y="1892726"/>
            <a:ext cx="5048449" cy="431475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2" name="Title 1">
            <a:extLst>
              <a:ext uri="{FF2B5EF4-FFF2-40B4-BE49-F238E27FC236}">
                <a16:creationId xmlns:a16="http://schemas.microsoft.com/office/drawing/2014/main" id="{EEB2DB48-F55E-46AE-9540-691925464E4C}"/>
              </a:ext>
            </a:extLst>
          </p:cNvPr>
          <p:cNvSpPr>
            <a:spLocks noGrp="1"/>
          </p:cNvSpPr>
          <p:nvPr>
            <p:ph type="title"/>
          </p:nvPr>
        </p:nvSpPr>
        <p:spPr>
          <a:xfrm>
            <a:off x="557929" y="530351"/>
            <a:ext cx="10071217" cy="684548"/>
          </a:xfrm>
        </p:spPr>
        <p:txBody>
          <a:bodyPr/>
          <a:lstStyle/>
          <a:p>
            <a:r>
              <a:rPr lang="en-US" dirty="0"/>
              <a:t>CVSH External Data Intake – Future State with Data Hub + EDIS</a:t>
            </a:r>
          </a:p>
        </p:txBody>
      </p:sp>
      <p:cxnSp>
        <p:nvCxnSpPr>
          <p:cNvPr id="4" name="Straight Arrow Connector 3">
            <a:extLst>
              <a:ext uri="{FF2B5EF4-FFF2-40B4-BE49-F238E27FC236}">
                <a16:creationId xmlns:a16="http://schemas.microsoft.com/office/drawing/2014/main" id="{EEF197D6-422C-4476-9AAB-134C0BB2E24F}"/>
              </a:ext>
            </a:extLst>
          </p:cNvPr>
          <p:cNvCxnSpPr>
            <a:cxnSpLocks/>
          </p:cNvCxnSpPr>
          <p:nvPr/>
        </p:nvCxnSpPr>
        <p:spPr>
          <a:xfrm>
            <a:off x="15086465" y="5706763"/>
            <a:ext cx="629187" cy="0"/>
          </a:xfrm>
          <a:prstGeom prst="straightConnector1">
            <a:avLst/>
          </a:prstGeom>
          <a:ln w="12700" cmpd="sng">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0FC9D0E-23B7-4805-9408-10A2CC1928CB}"/>
              </a:ext>
            </a:extLst>
          </p:cNvPr>
          <p:cNvCxnSpPr>
            <a:cxnSpLocks/>
          </p:cNvCxnSpPr>
          <p:nvPr/>
        </p:nvCxnSpPr>
        <p:spPr>
          <a:xfrm>
            <a:off x="6242039" y="1100916"/>
            <a:ext cx="0" cy="5321776"/>
          </a:xfrm>
          <a:prstGeom prst="line">
            <a:avLst/>
          </a:prstGeom>
          <a:ln w="19050" cmpd="sng">
            <a:solidFill>
              <a:srgbClr val="646464"/>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E07E4C3-ED30-4A2B-B1DD-79C6CB2E3EEF}"/>
              </a:ext>
            </a:extLst>
          </p:cNvPr>
          <p:cNvGrpSpPr/>
          <p:nvPr/>
        </p:nvGrpSpPr>
        <p:grpSpPr>
          <a:xfrm>
            <a:off x="552705" y="1076360"/>
            <a:ext cx="5043285" cy="5131118"/>
            <a:chOff x="612573" y="1076360"/>
            <a:chExt cx="5043285" cy="5131118"/>
          </a:xfrm>
        </p:grpSpPr>
        <p:sp>
          <p:nvSpPr>
            <p:cNvPr id="6" name="Rectangle 5">
              <a:extLst>
                <a:ext uri="{FF2B5EF4-FFF2-40B4-BE49-F238E27FC236}">
                  <a16:creationId xmlns:a16="http://schemas.microsoft.com/office/drawing/2014/main" id="{46EE6365-81AD-4FCA-A5B9-4F4D0C586289}"/>
                </a:ext>
              </a:extLst>
            </p:cNvPr>
            <p:cNvSpPr/>
            <p:nvPr/>
          </p:nvSpPr>
          <p:spPr bwMode="gray">
            <a:xfrm>
              <a:off x="823232" y="1898014"/>
              <a:ext cx="4832626" cy="1727209"/>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grpSp>
          <p:nvGrpSpPr>
            <p:cNvPr id="28" name="Group 27">
              <a:extLst>
                <a:ext uri="{FF2B5EF4-FFF2-40B4-BE49-F238E27FC236}">
                  <a16:creationId xmlns:a16="http://schemas.microsoft.com/office/drawing/2014/main" id="{28CDEEFF-6901-489B-A613-600C6B9418BC}"/>
                </a:ext>
              </a:extLst>
            </p:cNvPr>
            <p:cNvGrpSpPr/>
            <p:nvPr/>
          </p:nvGrpSpPr>
          <p:grpSpPr>
            <a:xfrm>
              <a:off x="612573" y="1076360"/>
              <a:ext cx="4837134" cy="5131118"/>
              <a:chOff x="612573" y="1076360"/>
              <a:chExt cx="4837134" cy="5131118"/>
            </a:xfrm>
          </p:grpSpPr>
          <p:sp>
            <p:nvSpPr>
              <p:cNvPr id="12" name="Rectangle: Rounded Corners 11">
                <a:extLst>
                  <a:ext uri="{FF2B5EF4-FFF2-40B4-BE49-F238E27FC236}">
                    <a16:creationId xmlns:a16="http://schemas.microsoft.com/office/drawing/2014/main" id="{FE80D894-D049-4249-89C3-2CB429A7EF23}"/>
                  </a:ext>
                </a:extLst>
              </p:cNvPr>
              <p:cNvSpPr/>
              <p:nvPr/>
            </p:nvSpPr>
            <p:spPr bwMode="gray">
              <a:xfrm>
                <a:off x="4243886" y="1166415"/>
                <a:ext cx="1104155" cy="443338"/>
              </a:xfrm>
              <a:prstGeom prst="round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b="1">
                    <a:solidFill>
                      <a:schemeClr val="tx2"/>
                    </a:solidFill>
                  </a:rPr>
                  <a:t>Reference</a:t>
                </a:r>
              </a:p>
              <a:p>
                <a:pPr algn="ctr"/>
                <a:r>
                  <a:rPr lang="en-US" sz="1200" b="1">
                    <a:solidFill>
                      <a:schemeClr val="tx2"/>
                    </a:solidFill>
                  </a:rPr>
                  <a:t>Data</a:t>
                </a:r>
              </a:p>
            </p:txBody>
          </p:sp>
          <p:sp>
            <p:nvSpPr>
              <p:cNvPr id="14" name="Oval 13">
                <a:extLst>
                  <a:ext uri="{FF2B5EF4-FFF2-40B4-BE49-F238E27FC236}">
                    <a16:creationId xmlns:a16="http://schemas.microsoft.com/office/drawing/2014/main" id="{F6B3E33B-279A-4B57-A0C7-AFD4CB2BA78F}"/>
                  </a:ext>
                </a:extLst>
              </p:cNvPr>
              <p:cNvSpPr/>
              <p:nvPr/>
            </p:nvSpPr>
            <p:spPr bwMode="gray">
              <a:xfrm>
                <a:off x="1005709" y="1103289"/>
                <a:ext cx="1300659" cy="588010"/>
              </a:xfrm>
              <a:prstGeom prst="ellipse">
                <a:avLst/>
              </a:prstGeom>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b="1">
                    <a:solidFill>
                      <a:schemeClr val="tx2"/>
                    </a:solidFill>
                  </a:rPr>
                  <a:t>External </a:t>
                </a:r>
              </a:p>
              <a:p>
                <a:pPr algn="ctr"/>
                <a:r>
                  <a:rPr lang="en-US" sz="1200" b="1">
                    <a:solidFill>
                      <a:schemeClr val="tx2"/>
                    </a:solidFill>
                  </a:rPr>
                  <a:t>Data</a:t>
                </a:r>
              </a:p>
            </p:txBody>
          </p:sp>
          <p:sp>
            <p:nvSpPr>
              <p:cNvPr id="7" name="Flowchart: Magnetic Disk 6">
                <a:extLst>
                  <a:ext uri="{FF2B5EF4-FFF2-40B4-BE49-F238E27FC236}">
                    <a16:creationId xmlns:a16="http://schemas.microsoft.com/office/drawing/2014/main" id="{CBBEE985-DFA9-4335-84E8-9CC49B0EB534}"/>
                  </a:ext>
                </a:extLst>
              </p:cNvPr>
              <p:cNvSpPr/>
              <p:nvPr/>
            </p:nvSpPr>
            <p:spPr bwMode="gray">
              <a:xfrm>
                <a:off x="1225975" y="2996241"/>
                <a:ext cx="864081" cy="562305"/>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Raw</a:t>
                </a:r>
              </a:p>
              <a:p>
                <a:pPr algn="ctr"/>
                <a:r>
                  <a:rPr lang="en-US" sz="1200">
                    <a:solidFill>
                      <a:schemeClr val="bg1"/>
                    </a:solidFill>
                  </a:rPr>
                  <a:t>Data</a:t>
                </a:r>
              </a:p>
            </p:txBody>
          </p:sp>
          <p:sp>
            <p:nvSpPr>
              <p:cNvPr id="8" name="Rectangle: Rounded Corners 7">
                <a:extLst>
                  <a:ext uri="{FF2B5EF4-FFF2-40B4-BE49-F238E27FC236}">
                    <a16:creationId xmlns:a16="http://schemas.microsoft.com/office/drawing/2014/main" id="{0AEC7480-7499-442D-9B7F-9286FAFB0818}"/>
                  </a:ext>
                </a:extLst>
              </p:cNvPr>
              <p:cNvSpPr/>
              <p:nvPr/>
            </p:nvSpPr>
            <p:spPr bwMode="gray">
              <a:xfrm>
                <a:off x="1132095" y="2287170"/>
                <a:ext cx="1051149" cy="423957"/>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Ingest</a:t>
                </a:r>
              </a:p>
            </p:txBody>
          </p:sp>
          <p:sp>
            <p:nvSpPr>
              <p:cNvPr id="9" name="Rectangle: Rounded Corners 8">
                <a:extLst>
                  <a:ext uri="{FF2B5EF4-FFF2-40B4-BE49-F238E27FC236}">
                    <a16:creationId xmlns:a16="http://schemas.microsoft.com/office/drawing/2014/main" id="{AD31964D-E5E9-49A2-B1C4-DFCAC54C0BAF}"/>
                  </a:ext>
                </a:extLst>
              </p:cNvPr>
              <p:cNvSpPr/>
              <p:nvPr/>
            </p:nvSpPr>
            <p:spPr bwMode="gray">
              <a:xfrm>
                <a:off x="2684546" y="2287170"/>
                <a:ext cx="1051149" cy="42395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a:solidFill>
                      <a:schemeClr val="bg1"/>
                    </a:solidFill>
                  </a:rPr>
                  <a:t>Curation</a:t>
                </a:r>
              </a:p>
            </p:txBody>
          </p:sp>
          <p:sp>
            <p:nvSpPr>
              <p:cNvPr id="10" name="Rectangle: Rounded Corners 9">
                <a:extLst>
                  <a:ext uri="{FF2B5EF4-FFF2-40B4-BE49-F238E27FC236}">
                    <a16:creationId xmlns:a16="http://schemas.microsoft.com/office/drawing/2014/main" id="{EE9C9ED5-ABCE-4FDB-86CF-FDFC75DD74BD}"/>
                  </a:ext>
                </a:extLst>
              </p:cNvPr>
              <p:cNvSpPr/>
              <p:nvPr/>
            </p:nvSpPr>
            <p:spPr bwMode="gray">
              <a:xfrm>
                <a:off x="2684546" y="3082420"/>
                <a:ext cx="1051149" cy="423957"/>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Rules</a:t>
                </a:r>
              </a:p>
              <a:p>
                <a:pPr algn="ctr"/>
                <a:r>
                  <a:rPr lang="en-US" sz="1200">
                    <a:solidFill>
                      <a:schemeClr val="bg1"/>
                    </a:solidFill>
                  </a:rPr>
                  <a:t>Libraries</a:t>
                </a:r>
              </a:p>
            </p:txBody>
          </p:sp>
          <p:sp>
            <p:nvSpPr>
              <p:cNvPr id="11" name="Flowchart: Magnetic Disk 10">
                <a:extLst>
                  <a:ext uri="{FF2B5EF4-FFF2-40B4-BE49-F238E27FC236}">
                    <a16:creationId xmlns:a16="http://schemas.microsoft.com/office/drawing/2014/main" id="{728DB449-6AC5-415B-AD63-6D253B91B5F8}"/>
                  </a:ext>
                </a:extLst>
              </p:cNvPr>
              <p:cNvSpPr/>
              <p:nvPr/>
            </p:nvSpPr>
            <p:spPr bwMode="gray">
              <a:xfrm>
                <a:off x="4189753" y="2160991"/>
                <a:ext cx="1242673" cy="679542"/>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Curated </a:t>
                </a:r>
              </a:p>
              <a:p>
                <a:pPr algn="ctr"/>
                <a:r>
                  <a:rPr lang="en-US" sz="1200">
                    <a:solidFill>
                      <a:schemeClr val="bg1"/>
                    </a:solidFill>
                  </a:rPr>
                  <a:t>Raw +</a:t>
                </a:r>
              </a:p>
              <a:p>
                <a:pPr algn="ctr"/>
                <a:r>
                  <a:rPr lang="en-US" sz="1200">
                    <a:solidFill>
                      <a:schemeClr val="bg1"/>
                    </a:solidFill>
                  </a:rPr>
                  <a:t>“Decoration”</a:t>
                </a:r>
              </a:p>
            </p:txBody>
          </p:sp>
          <p:sp>
            <p:nvSpPr>
              <p:cNvPr id="36" name="TextBox 35">
                <a:extLst>
                  <a:ext uri="{FF2B5EF4-FFF2-40B4-BE49-F238E27FC236}">
                    <a16:creationId xmlns:a16="http://schemas.microsoft.com/office/drawing/2014/main" id="{B1C07FB1-E4F7-46B0-9153-B6C0A2878CC2}"/>
                  </a:ext>
                </a:extLst>
              </p:cNvPr>
              <p:cNvSpPr txBox="1"/>
              <p:nvPr/>
            </p:nvSpPr>
            <p:spPr>
              <a:xfrm>
                <a:off x="2470601" y="1941863"/>
                <a:ext cx="1404231" cy="200055"/>
              </a:xfrm>
              <a:prstGeom prst="rect">
                <a:avLst/>
              </a:prstGeom>
              <a:noFill/>
            </p:spPr>
            <p:txBody>
              <a:bodyPr wrap="none" lIns="0" tIns="0" rIns="0" bIns="0" rtlCol="0">
                <a:spAutoFit/>
              </a:bodyPr>
              <a:lstStyle/>
              <a:p>
                <a:r>
                  <a:rPr lang="en-US" sz="1300" b="1" dirty="0">
                    <a:solidFill>
                      <a:schemeClr val="tx2"/>
                    </a:solidFill>
                  </a:rPr>
                  <a:t>Data Hub Service</a:t>
                </a:r>
              </a:p>
            </p:txBody>
          </p:sp>
          <p:cxnSp>
            <p:nvCxnSpPr>
              <p:cNvPr id="65" name="Straight Arrow Connector 64">
                <a:extLst>
                  <a:ext uri="{FF2B5EF4-FFF2-40B4-BE49-F238E27FC236}">
                    <a16:creationId xmlns:a16="http://schemas.microsoft.com/office/drawing/2014/main" id="{9F79DEE4-32EB-4954-BB88-47EAFD90F0F2}"/>
                  </a:ext>
                </a:extLst>
              </p:cNvPr>
              <p:cNvCxnSpPr>
                <a:cxnSpLocks/>
              </p:cNvCxnSpPr>
              <p:nvPr/>
            </p:nvCxnSpPr>
            <p:spPr>
              <a:xfrm>
                <a:off x="3210121" y="1580092"/>
                <a:ext cx="0" cy="72100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50" name="Group 49">
                <a:extLst>
                  <a:ext uri="{FF2B5EF4-FFF2-40B4-BE49-F238E27FC236}">
                    <a16:creationId xmlns:a16="http://schemas.microsoft.com/office/drawing/2014/main" id="{E5F6E99E-A091-44B0-81F0-D7F7252F34E2}"/>
                  </a:ext>
                </a:extLst>
              </p:cNvPr>
              <p:cNvGrpSpPr/>
              <p:nvPr/>
            </p:nvGrpSpPr>
            <p:grpSpPr>
              <a:xfrm>
                <a:off x="3049932" y="4037152"/>
                <a:ext cx="269239" cy="533374"/>
                <a:chOff x="2997201" y="4927596"/>
                <a:chExt cx="298450" cy="611472"/>
              </a:xfrm>
              <a:solidFill>
                <a:schemeClr val="accent2"/>
              </a:solidFill>
            </p:grpSpPr>
            <p:sp>
              <p:nvSpPr>
                <p:cNvPr id="51" name="Freeform 95">
                  <a:extLst>
                    <a:ext uri="{FF2B5EF4-FFF2-40B4-BE49-F238E27FC236}">
                      <a16:creationId xmlns:a16="http://schemas.microsoft.com/office/drawing/2014/main" id="{D8309F17-C82C-4EB0-83D1-B21D09B3C1AE}"/>
                    </a:ext>
                  </a:extLst>
                </p:cNvPr>
                <p:cNvSpPr>
                  <a:spLocks/>
                </p:cNvSpPr>
                <p:nvPr/>
              </p:nvSpPr>
              <p:spPr bwMode="auto">
                <a:xfrm>
                  <a:off x="3008313" y="4998756"/>
                  <a:ext cx="287338" cy="209550"/>
                </a:xfrm>
                <a:custGeom>
                  <a:avLst/>
                  <a:gdLst>
                    <a:gd name="T0" fmla="*/ 37 w 52"/>
                    <a:gd name="T1" fmla="*/ 0 h 38"/>
                    <a:gd name="T2" fmla="*/ 0 w 52"/>
                    <a:gd name="T3" fmla="*/ 22 h 38"/>
                    <a:gd name="T4" fmla="*/ 25 w 52"/>
                    <a:gd name="T5" fmla="*/ 38 h 38"/>
                    <a:gd name="T6" fmla="*/ 52 w 52"/>
                    <a:gd name="T7" fmla="*/ 11 h 38"/>
                    <a:gd name="T8" fmla="*/ 51 w 52"/>
                    <a:gd name="T9" fmla="*/ 10 h 38"/>
                    <a:gd name="T10" fmla="*/ 37 w 52"/>
                    <a:gd name="T11" fmla="*/ 0 h 38"/>
                  </a:gdLst>
                  <a:ahLst/>
                  <a:cxnLst>
                    <a:cxn ang="0">
                      <a:pos x="T0" y="T1"/>
                    </a:cxn>
                    <a:cxn ang="0">
                      <a:pos x="T2" y="T3"/>
                    </a:cxn>
                    <a:cxn ang="0">
                      <a:pos x="T4" y="T5"/>
                    </a:cxn>
                    <a:cxn ang="0">
                      <a:pos x="T6" y="T7"/>
                    </a:cxn>
                    <a:cxn ang="0">
                      <a:pos x="T8" y="T9"/>
                    </a:cxn>
                    <a:cxn ang="0">
                      <a:pos x="T10" y="T11"/>
                    </a:cxn>
                  </a:cxnLst>
                  <a:rect l="0" t="0" r="r" b="b"/>
                  <a:pathLst>
                    <a:path w="52" h="38">
                      <a:moveTo>
                        <a:pt x="37" y="0"/>
                      </a:moveTo>
                      <a:cubicBezTo>
                        <a:pt x="26" y="9"/>
                        <a:pt x="14" y="17"/>
                        <a:pt x="0" y="22"/>
                      </a:cubicBezTo>
                      <a:cubicBezTo>
                        <a:pt x="4" y="31"/>
                        <a:pt x="14" y="38"/>
                        <a:pt x="25" y="38"/>
                      </a:cubicBezTo>
                      <a:cubicBezTo>
                        <a:pt x="40" y="38"/>
                        <a:pt x="52" y="26"/>
                        <a:pt x="52" y="11"/>
                      </a:cubicBezTo>
                      <a:cubicBezTo>
                        <a:pt x="52" y="11"/>
                        <a:pt x="51" y="11"/>
                        <a:pt x="51" y="10"/>
                      </a:cubicBezTo>
                      <a:cubicBezTo>
                        <a:pt x="46" y="8"/>
                        <a:pt x="42" y="4"/>
                        <a:pt x="3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53" name="Freeform 96">
                  <a:extLst>
                    <a:ext uri="{FF2B5EF4-FFF2-40B4-BE49-F238E27FC236}">
                      <a16:creationId xmlns:a16="http://schemas.microsoft.com/office/drawing/2014/main" id="{A96ED489-E4D2-4C2A-A0CA-011B28259160}"/>
                    </a:ext>
                  </a:extLst>
                </p:cNvPr>
                <p:cNvSpPr>
                  <a:spLocks/>
                </p:cNvSpPr>
                <p:nvPr/>
              </p:nvSpPr>
              <p:spPr bwMode="auto">
                <a:xfrm>
                  <a:off x="2997201" y="4927596"/>
                  <a:ext cx="292101" cy="176213"/>
                </a:xfrm>
                <a:custGeom>
                  <a:avLst/>
                  <a:gdLst>
                    <a:gd name="T0" fmla="*/ 46 w 53"/>
                    <a:gd name="T1" fmla="*/ 8 h 32"/>
                    <a:gd name="T2" fmla="*/ 44 w 53"/>
                    <a:gd name="T3" fmla="*/ 6 h 32"/>
                    <a:gd name="T4" fmla="*/ 31 w 53"/>
                    <a:gd name="T5" fmla="*/ 0 h 32"/>
                    <a:gd name="T6" fmla="*/ 28 w 53"/>
                    <a:gd name="T7" fmla="*/ 0 h 32"/>
                    <a:gd name="T8" fmla="*/ 27 w 53"/>
                    <a:gd name="T9" fmla="*/ 0 h 32"/>
                    <a:gd name="T10" fmla="*/ 0 w 53"/>
                    <a:gd name="T11" fmla="*/ 26 h 32"/>
                    <a:gd name="T12" fmla="*/ 1 w 53"/>
                    <a:gd name="T13" fmla="*/ 32 h 32"/>
                    <a:gd name="T14" fmla="*/ 39 w 53"/>
                    <a:gd name="T15" fmla="*/ 10 h 32"/>
                    <a:gd name="T16" fmla="*/ 53 w 53"/>
                    <a:gd name="T17" fmla="*/ 22 h 32"/>
                    <a:gd name="T18" fmla="*/ 46 w 53"/>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32">
                      <a:moveTo>
                        <a:pt x="46" y="8"/>
                      </a:moveTo>
                      <a:cubicBezTo>
                        <a:pt x="45" y="7"/>
                        <a:pt x="45" y="6"/>
                        <a:pt x="44" y="6"/>
                      </a:cubicBezTo>
                      <a:cubicBezTo>
                        <a:pt x="40" y="3"/>
                        <a:pt x="36" y="1"/>
                        <a:pt x="31" y="0"/>
                      </a:cubicBezTo>
                      <a:cubicBezTo>
                        <a:pt x="30" y="0"/>
                        <a:pt x="29" y="0"/>
                        <a:pt x="28" y="0"/>
                      </a:cubicBezTo>
                      <a:cubicBezTo>
                        <a:pt x="28" y="0"/>
                        <a:pt x="27" y="0"/>
                        <a:pt x="27" y="0"/>
                      </a:cubicBezTo>
                      <a:cubicBezTo>
                        <a:pt x="12" y="0"/>
                        <a:pt x="0" y="12"/>
                        <a:pt x="0" y="26"/>
                      </a:cubicBezTo>
                      <a:cubicBezTo>
                        <a:pt x="0" y="28"/>
                        <a:pt x="0" y="30"/>
                        <a:pt x="1" y="32"/>
                      </a:cubicBezTo>
                      <a:cubicBezTo>
                        <a:pt x="23" y="26"/>
                        <a:pt x="38" y="11"/>
                        <a:pt x="39" y="10"/>
                      </a:cubicBezTo>
                      <a:cubicBezTo>
                        <a:pt x="39" y="11"/>
                        <a:pt x="48" y="21"/>
                        <a:pt x="53" y="22"/>
                      </a:cubicBezTo>
                      <a:cubicBezTo>
                        <a:pt x="52" y="17"/>
                        <a:pt x="50" y="12"/>
                        <a:pt x="46"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54" name="Freeform 97">
                  <a:extLst>
                    <a:ext uri="{FF2B5EF4-FFF2-40B4-BE49-F238E27FC236}">
                      <a16:creationId xmlns:a16="http://schemas.microsoft.com/office/drawing/2014/main" id="{145AD034-4FBD-4001-BE6B-55CBB1097D44}"/>
                    </a:ext>
                  </a:extLst>
                </p:cNvPr>
                <p:cNvSpPr>
                  <a:spLocks noEditPoints="1"/>
                </p:cNvSpPr>
                <p:nvPr/>
              </p:nvSpPr>
              <p:spPr bwMode="auto">
                <a:xfrm>
                  <a:off x="2997201" y="5262844"/>
                  <a:ext cx="298450" cy="276224"/>
                </a:xfrm>
                <a:custGeom>
                  <a:avLst/>
                  <a:gdLst>
                    <a:gd name="T0" fmla="*/ 54 w 54"/>
                    <a:gd name="T1" fmla="*/ 21 h 50"/>
                    <a:gd name="T2" fmla="*/ 43 w 54"/>
                    <a:gd name="T3" fmla="*/ 0 h 50"/>
                    <a:gd name="T4" fmla="*/ 30 w 54"/>
                    <a:gd name="T5" fmla="*/ 16 h 50"/>
                    <a:gd name="T6" fmla="*/ 30 w 54"/>
                    <a:gd name="T7" fmla="*/ 9 h 50"/>
                    <a:gd name="T8" fmla="*/ 28 w 54"/>
                    <a:gd name="T9" fmla="*/ 9 h 50"/>
                    <a:gd name="T10" fmla="*/ 26 w 54"/>
                    <a:gd name="T11" fmla="*/ 9 h 50"/>
                    <a:gd name="T12" fmla="*/ 24 w 54"/>
                    <a:gd name="T13" fmla="*/ 9 h 50"/>
                    <a:gd name="T14" fmla="*/ 24 w 54"/>
                    <a:gd name="T15" fmla="*/ 16 h 50"/>
                    <a:gd name="T16" fmla="*/ 10 w 54"/>
                    <a:gd name="T17" fmla="*/ 0 h 50"/>
                    <a:gd name="T18" fmla="*/ 0 w 54"/>
                    <a:gd name="T19" fmla="*/ 21 h 50"/>
                    <a:gd name="T20" fmla="*/ 0 w 54"/>
                    <a:gd name="T21" fmla="*/ 21 h 50"/>
                    <a:gd name="T22" fmla="*/ 0 w 54"/>
                    <a:gd name="T23" fmla="*/ 50 h 50"/>
                    <a:gd name="T24" fmla="*/ 54 w 54"/>
                    <a:gd name="T25" fmla="*/ 50 h 50"/>
                    <a:gd name="T26" fmla="*/ 54 w 54"/>
                    <a:gd name="T27" fmla="*/ 21 h 50"/>
                    <a:gd name="T28" fmla="*/ 47 w 54"/>
                    <a:gd name="T29" fmla="*/ 27 h 50"/>
                    <a:gd name="T30" fmla="*/ 34 w 54"/>
                    <a:gd name="T31" fmla="*/ 27 h 50"/>
                    <a:gd name="T32" fmla="*/ 34 w 54"/>
                    <a:gd name="T33" fmla="*/ 24 h 50"/>
                    <a:gd name="T34" fmla="*/ 47 w 54"/>
                    <a:gd name="T35" fmla="*/ 24 h 50"/>
                    <a:gd name="T36" fmla="*/ 47 w 54"/>
                    <a:gd name="T37" fmla="*/ 26 h 50"/>
                    <a:gd name="T38" fmla="*/ 47 w 54"/>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0">
                      <a:moveTo>
                        <a:pt x="54" y="21"/>
                      </a:moveTo>
                      <a:cubicBezTo>
                        <a:pt x="53" y="12"/>
                        <a:pt x="50" y="5"/>
                        <a:pt x="43" y="0"/>
                      </a:cubicBezTo>
                      <a:cubicBezTo>
                        <a:pt x="30" y="16"/>
                        <a:pt x="30" y="16"/>
                        <a:pt x="30" y="16"/>
                      </a:cubicBezTo>
                      <a:cubicBezTo>
                        <a:pt x="30" y="9"/>
                        <a:pt x="30" y="9"/>
                        <a:pt x="30" y="9"/>
                      </a:cubicBezTo>
                      <a:cubicBezTo>
                        <a:pt x="29" y="9"/>
                        <a:pt x="29" y="9"/>
                        <a:pt x="28" y="9"/>
                      </a:cubicBezTo>
                      <a:cubicBezTo>
                        <a:pt x="26" y="9"/>
                        <a:pt x="26" y="9"/>
                        <a:pt x="26" y="9"/>
                      </a:cubicBezTo>
                      <a:cubicBezTo>
                        <a:pt x="25" y="9"/>
                        <a:pt x="25" y="9"/>
                        <a:pt x="24" y="9"/>
                      </a:cubicBezTo>
                      <a:cubicBezTo>
                        <a:pt x="24" y="16"/>
                        <a:pt x="24" y="16"/>
                        <a:pt x="24" y="16"/>
                      </a:cubicBezTo>
                      <a:cubicBezTo>
                        <a:pt x="10" y="0"/>
                        <a:pt x="10" y="0"/>
                        <a:pt x="10" y="0"/>
                      </a:cubicBezTo>
                      <a:cubicBezTo>
                        <a:pt x="4" y="5"/>
                        <a:pt x="0" y="12"/>
                        <a:pt x="0" y="21"/>
                      </a:cubicBezTo>
                      <a:cubicBezTo>
                        <a:pt x="0" y="21"/>
                        <a:pt x="0" y="21"/>
                        <a:pt x="0" y="21"/>
                      </a:cubicBezTo>
                      <a:cubicBezTo>
                        <a:pt x="0" y="50"/>
                        <a:pt x="0" y="50"/>
                        <a:pt x="0" y="50"/>
                      </a:cubicBezTo>
                      <a:cubicBezTo>
                        <a:pt x="54" y="50"/>
                        <a:pt x="54" y="50"/>
                        <a:pt x="54" y="50"/>
                      </a:cubicBezTo>
                      <a:cubicBezTo>
                        <a:pt x="54" y="21"/>
                        <a:pt x="54" y="21"/>
                        <a:pt x="54" y="21"/>
                      </a:cubicBezTo>
                      <a:close/>
                      <a:moveTo>
                        <a:pt x="47" y="27"/>
                      </a:moveTo>
                      <a:cubicBezTo>
                        <a:pt x="34" y="27"/>
                        <a:pt x="34" y="27"/>
                        <a:pt x="34" y="27"/>
                      </a:cubicBezTo>
                      <a:cubicBezTo>
                        <a:pt x="34" y="24"/>
                        <a:pt x="34" y="24"/>
                        <a:pt x="34" y="24"/>
                      </a:cubicBezTo>
                      <a:cubicBezTo>
                        <a:pt x="47" y="24"/>
                        <a:pt x="47" y="24"/>
                        <a:pt x="47" y="24"/>
                      </a:cubicBezTo>
                      <a:cubicBezTo>
                        <a:pt x="47" y="26"/>
                        <a:pt x="47" y="26"/>
                        <a:pt x="47" y="26"/>
                      </a:cubicBezTo>
                      <a:lnTo>
                        <a:pt x="47" y="27"/>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55" name="Freeform 98">
                  <a:extLst>
                    <a:ext uri="{FF2B5EF4-FFF2-40B4-BE49-F238E27FC236}">
                      <a16:creationId xmlns:a16="http://schemas.microsoft.com/office/drawing/2014/main" id="{C0C4FCA3-2454-41E6-95F1-54A9EFF07EF5}"/>
                    </a:ext>
                  </a:extLst>
                </p:cNvPr>
                <p:cNvSpPr>
                  <a:spLocks/>
                </p:cNvSpPr>
                <p:nvPr/>
              </p:nvSpPr>
              <p:spPr bwMode="auto">
                <a:xfrm>
                  <a:off x="3117851" y="5235575"/>
                  <a:ext cx="55563" cy="55563"/>
                </a:xfrm>
                <a:custGeom>
                  <a:avLst/>
                  <a:gdLst>
                    <a:gd name="T0" fmla="*/ 9 w 10"/>
                    <a:gd name="T1" fmla="*/ 8 h 10"/>
                    <a:gd name="T2" fmla="*/ 9 w 10"/>
                    <a:gd name="T3" fmla="*/ 8 h 10"/>
                    <a:gd name="T4" fmla="*/ 10 w 10"/>
                    <a:gd name="T5" fmla="*/ 8 h 10"/>
                    <a:gd name="T6" fmla="*/ 10 w 10"/>
                    <a:gd name="T7" fmla="*/ 7 h 10"/>
                    <a:gd name="T8" fmla="*/ 10 w 10"/>
                    <a:gd name="T9" fmla="*/ 7 h 10"/>
                    <a:gd name="T10" fmla="*/ 10 w 10"/>
                    <a:gd name="T11" fmla="*/ 7 h 10"/>
                    <a:gd name="T12" fmla="*/ 10 w 10"/>
                    <a:gd name="T13" fmla="*/ 4 h 10"/>
                    <a:gd name="T14" fmla="*/ 6 w 10"/>
                    <a:gd name="T15" fmla="*/ 0 h 10"/>
                    <a:gd name="T16" fmla="*/ 4 w 10"/>
                    <a:gd name="T17" fmla="*/ 0 h 10"/>
                    <a:gd name="T18" fmla="*/ 0 w 10"/>
                    <a:gd name="T19" fmla="*/ 4 h 10"/>
                    <a:gd name="T20" fmla="*/ 0 w 10"/>
                    <a:gd name="T21" fmla="*/ 7 h 10"/>
                    <a:gd name="T22" fmla="*/ 0 w 10"/>
                    <a:gd name="T23" fmla="*/ 7 h 10"/>
                    <a:gd name="T24" fmla="*/ 0 w 10"/>
                    <a:gd name="T25" fmla="*/ 7 h 10"/>
                    <a:gd name="T26" fmla="*/ 0 w 10"/>
                    <a:gd name="T27" fmla="*/ 8 h 10"/>
                    <a:gd name="T28" fmla="*/ 0 w 10"/>
                    <a:gd name="T29" fmla="*/ 8 h 10"/>
                    <a:gd name="T30" fmla="*/ 0 w 10"/>
                    <a:gd name="T31" fmla="*/ 8 h 10"/>
                    <a:gd name="T32" fmla="*/ 1 w 10"/>
                    <a:gd name="T33" fmla="*/ 9 h 10"/>
                    <a:gd name="T34" fmla="*/ 1 w 10"/>
                    <a:gd name="T35" fmla="*/ 9 h 10"/>
                    <a:gd name="T36" fmla="*/ 1 w 10"/>
                    <a:gd name="T37" fmla="*/ 9 h 10"/>
                    <a:gd name="T38" fmla="*/ 1 w 10"/>
                    <a:gd name="T39" fmla="*/ 9 h 10"/>
                    <a:gd name="T40" fmla="*/ 2 w 10"/>
                    <a:gd name="T41" fmla="*/ 10 h 10"/>
                    <a:gd name="T42" fmla="*/ 2 w 10"/>
                    <a:gd name="T43" fmla="*/ 10 h 10"/>
                    <a:gd name="T44" fmla="*/ 3 w 10"/>
                    <a:gd name="T45" fmla="*/ 10 h 10"/>
                    <a:gd name="T46" fmla="*/ 4 w 10"/>
                    <a:gd name="T47" fmla="*/ 10 h 10"/>
                    <a:gd name="T48" fmla="*/ 6 w 10"/>
                    <a:gd name="T49" fmla="*/ 10 h 10"/>
                    <a:gd name="T50" fmla="*/ 7 w 10"/>
                    <a:gd name="T51" fmla="*/ 10 h 10"/>
                    <a:gd name="T52" fmla="*/ 8 w 10"/>
                    <a:gd name="T53" fmla="*/ 10 h 10"/>
                    <a:gd name="T54" fmla="*/ 8 w 10"/>
                    <a:gd name="T55" fmla="*/ 10 h 10"/>
                    <a:gd name="T56" fmla="*/ 8 w 10"/>
                    <a:gd name="T57" fmla="*/ 9 h 10"/>
                    <a:gd name="T58" fmla="*/ 8 w 10"/>
                    <a:gd name="T59" fmla="*/ 9 h 10"/>
                    <a:gd name="T60" fmla="*/ 9 w 10"/>
                    <a:gd name="T61" fmla="*/ 9 h 10"/>
                    <a:gd name="T62" fmla="*/ 9 w 10"/>
                    <a:gd name="T63" fmla="*/ 9 h 10"/>
                    <a:gd name="T64" fmla="*/ 9 w 10"/>
                    <a:gd name="T6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0">
                      <a:moveTo>
                        <a:pt x="9" y="8"/>
                      </a:moveTo>
                      <a:cubicBezTo>
                        <a:pt x="9" y="8"/>
                        <a:pt x="9" y="8"/>
                        <a:pt x="9" y="8"/>
                      </a:cubicBezTo>
                      <a:cubicBezTo>
                        <a:pt x="10" y="8"/>
                        <a:pt x="10" y="8"/>
                        <a:pt x="10" y="8"/>
                      </a:cubicBezTo>
                      <a:cubicBezTo>
                        <a:pt x="10" y="8"/>
                        <a:pt x="10" y="8"/>
                        <a:pt x="10" y="7"/>
                      </a:cubicBezTo>
                      <a:cubicBezTo>
                        <a:pt x="10" y="7"/>
                        <a:pt x="10" y="7"/>
                        <a:pt x="10" y="7"/>
                      </a:cubicBezTo>
                      <a:cubicBezTo>
                        <a:pt x="10" y="7"/>
                        <a:pt x="10" y="7"/>
                        <a:pt x="10" y="7"/>
                      </a:cubicBezTo>
                      <a:cubicBezTo>
                        <a:pt x="10" y="4"/>
                        <a:pt x="10" y="4"/>
                        <a:pt x="10" y="4"/>
                      </a:cubicBezTo>
                      <a:cubicBezTo>
                        <a:pt x="10" y="2"/>
                        <a:pt x="8" y="0"/>
                        <a:pt x="6" y="0"/>
                      </a:cubicBezTo>
                      <a:cubicBezTo>
                        <a:pt x="4" y="0"/>
                        <a:pt x="4" y="0"/>
                        <a:pt x="4" y="0"/>
                      </a:cubicBezTo>
                      <a:cubicBezTo>
                        <a:pt x="1" y="0"/>
                        <a:pt x="0" y="2"/>
                        <a:pt x="0" y="4"/>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9"/>
                        <a:pt x="1" y="9"/>
                      </a:cubicBezTo>
                      <a:cubicBezTo>
                        <a:pt x="1" y="9"/>
                        <a:pt x="1" y="9"/>
                        <a:pt x="1" y="9"/>
                      </a:cubicBezTo>
                      <a:cubicBezTo>
                        <a:pt x="1" y="9"/>
                        <a:pt x="1" y="9"/>
                        <a:pt x="1" y="9"/>
                      </a:cubicBezTo>
                      <a:cubicBezTo>
                        <a:pt x="1" y="9"/>
                        <a:pt x="1" y="9"/>
                        <a:pt x="1" y="9"/>
                      </a:cubicBezTo>
                      <a:cubicBezTo>
                        <a:pt x="1" y="10"/>
                        <a:pt x="2" y="10"/>
                        <a:pt x="2" y="10"/>
                      </a:cubicBezTo>
                      <a:cubicBezTo>
                        <a:pt x="2" y="10"/>
                        <a:pt x="2" y="10"/>
                        <a:pt x="2" y="10"/>
                      </a:cubicBezTo>
                      <a:cubicBezTo>
                        <a:pt x="2" y="10"/>
                        <a:pt x="2" y="10"/>
                        <a:pt x="3" y="10"/>
                      </a:cubicBezTo>
                      <a:cubicBezTo>
                        <a:pt x="3" y="10"/>
                        <a:pt x="3" y="10"/>
                        <a:pt x="4" y="10"/>
                      </a:cubicBezTo>
                      <a:cubicBezTo>
                        <a:pt x="6" y="10"/>
                        <a:pt x="6" y="10"/>
                        <a:pt x="6" y="10"/>
                      </a:cubicBezTo>
                      <a:cubicBezTo>
                        <a:pt x="6" y="10"/>
                        <a:pt x="7" y="10"/>
                        <a:pt x="7" y="10"/>
                      </a:cubicBezTo>
                      <a:cubicBezTo>
                        <a:pt x="7" y="10"/>
                        <a:pt x="8" y="10"/>
                        <a:pt x="8" y="10"/>
                      </a:cubicBezTo>
                      <a:cubicBezTo>
                        <a:pt x="8" y="10"/>
                        <a:pt x="8" y="10"/>
                        <a:pt x="8" y="10"/>
                      </a:cubicBezTo>
                      <a:cubicBezTo>
                        <a:pt x="8" y="10"/>
                        <a:pt x="8" y="10"/>
                        <a:pt x="8" y="9"/>
                      </a:cubicBezTo>
                      <a:cubicBezTo>
                        <a:pt x="8" y="9"/>
                        <a:pt x="8" y="9"/>
                        <a:pt x="8" y="9"/>
                      </a:cubicBezTo>
                      <a:cubicBezTo>
                        <a:pt x="9" y="9"/>
                        <a:pt x="9" y="9"/>
                        <a:pt x="9" y="9"/>
                      </a:cubicBezTo>
                      <a:cubicBezTo>
                        <a:pt x="9" y="9"/>
                        <a:pt x="9" y="9"/>
                        <a:pt x="9" y="9"/>
                      </a:cubicBezTo>
                      <a:cubicBezTo>
                        <a:pt x="9" y="9"/>
                        <a:pt x="9" y="8"/>
                        <a:pt x="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56" name="TextBox 55">
                <a:extLst>
                  <a:ext uri="{FF2B5EF4-FFF2-40B4-BE49-F238E27FC236}">
                    <a16:creationId xmlns:a16="http://schemas.microsoft.com/office/drawing/2014/main" id="{7712ABA7-5E5F-4307-8A3E-1B769689DCE0}"/>
                  </a:ext>
                </a:extLst>
              </p:cNvPr>
              <p:cNvSpPr txBox="1"/>
              <p:nvPr/>
            </p:nvSpPr>
            <p:spPr>
              <a:xfrm>
                <a:off x="2539303" y="4572526"/>
                <a:ext cx="1238939" cy="184666"/>
              </a:xfrm>
              <a:prstGeom prst="rect">
                <a:avLst/>
              </a:prstGeom>
              <a:noFill/>
            </p:spPr>
            <p:txBody>
              <a:bodyPr wrap="square" lIns="0" tIns="0" rIns="0" bIns="0" rtlCol="0">
                <a:spAutoFit/>
              </a:bodyPr>
              <a:lstStyle/>
              <a:p>
                <a:pPr algn="ctr"/>
                <a:r>
                  <a:rPr lang="en-US" sz="1200">
                    <a:solidFill>
                      <a:schemeClr val="tx2"/>
                    </a:solidFill>
                  </a:rPr>
                  <a:t>Other Sources</a:t>
                </a:r>
              </a:p>
            </p:txBody>
          </p:sp>
          <p:grpSp>
            <p:nvGrpSpPr>
              <p:cNvPr id="23" name="Group 22">
                <a:extLst>
                  <a:ext uri="{FF2B5EF4-FFF2-40B4-BE49-F238E27FC236}">
                    <a16:creationId xmlns:a16="http://schemas.microsoft.com/office/drawing/2014/main" id="{755A2DB1-C309-48AF-94F4-5B3B10482411}"/>
                  </a:ext>
                </a:extLst>
              </p:cNvPr>
              <p:cNvGrpSpPr/>
              <p:nvPr/>
            </p:nvGrpSpPr>
            <p:grpSpPr>
              <a:xfrm>
                <a:off x="1810229" y="4996647"/>
                <a:ext cx="2913151" cy="1210831"/>
                <a:chOff x="2124311" y="4587751"/>
                <a:chExt cx="2934804" cy="1261566"/>
              </a:xfrm>
            </p:grpSpPr>
            <p:sp>
              <p:nvSpPr>
                <p:cNvPr id="58" name="Rectangle 57">
                  <a:extLst>
                    <a:ext uri="{FF2B5EF4-FFF2-40B4-BE49-F238E27FC236}">
                      <a16:creationId xmlns:a16="http://schemas.microsoft.com/office/drawing/2014/main" id="{7F4B5AAA-0867-41C7-AF87-85C4112B3E8C}"/>
                    </a:ext>
                  </a:extLst>
                </p:cNvPr>
                <p:cNvSpPr/>
                <p:nvPr/>
              </p:nvSpPr>
              <p:spPr bwMode="gray">
                <a:xfrm>
                  <a:off x="2124311" y="4587751"/>
                  <a:ext cx="2934804" cy="126156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200" b="1">
                    <a:solidFill>
                      <a:schemeClr val="tx2"/>
                    </a:solidFill>
                  </a:endParaRPr>
                </a:p>
              </p:txBody>
            </p:sp>
            <p:sp>
              <p:nvSpPr>
                <p:cNvPr id="64" name="Flowchart: Magnetic Disk 63">
                  <a:extLst>
                    <a:ext uri="{FF2B5EF4-FFF2-40B4-BE49-F238E27FC236}">
                      <a16:creationId xmlns:a16="http://schemas.microsoft.com/office/drawing/2014/main" id="{FCC3EBC2-9D0D-47EA-B152-51B9C42AFCE8}"/>
                    </a:ext>
                  </a:extLst>
                </p:cNvPr>
                <p:cNvSpPr/>
                <p:nvPr/>
              </p:nvSpPr>
              <p:spPr bwMode="gray">
                <a:xfrm>
                  <a:off x="2912687" y="5136342"/>
                  <a:ext cx="1327375" cy="621349"/>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bg1"/>
                      </a:solidFill>
                    </a:rPr>
                    <a:t>External Data</a:t>
                  </a:r>
                </a:p>
                <a:p>
                  <a:pPr algn="ctr"/>
                  <a:r>
                    <a:rPr lang="en-US" sz="1200" dirty="0">
                      <a:solidFill>
                        <a:schemeClr val="bg1"/>
                      </a:solidFill>
                    </a:rPr>
                    <a:t>Index Store</a:t>
                  </a:r>
                </a:p>
              </p:txBody>
            </p:sp>
            <p:sp>
              <p:nvSpPr>
                <p:cNvPr id="68" name="TextBox 67">
                  <a:extLst>
                    <a:ext uri="{FF2B5EF4-FFF2-40B4-BE49-F238E27FC236}">
                      <a16:creationId xmlns:a16="http://schemas.microsoft.com/office/drawing/2014/main" id="{8297072D-5A85-4366-B2F8-CF75DDD93FCF}"/>
                    </a:ext>
                  </a:extLst>
                </p:cNvPr>
                <p:cNvSpPr txBox="1"/>
                <p:nvPr/>
              </p:nvSpPr>
              <p:spPr>
                <a:xfrm>
                  <a:off x="2220478" y="4654488"/>
                  <a:ext cx="2725302" cy="400841"/>
                </a:xfrm>
                <a:prstGeom prst="rect">
                  <a:avLst/>
                </a:prstGeom>
                <a:noFill/>
              </p:spPr>
              <p:txBody>
                <a:bodyPr wrap="square" lIns="0" tIns="0" rIns="0" bIns="0" rtlCol="0">
                  <a:spAutoFit/>
                </a:bodyPr>
                <a:lstStyle/>
                <a:p>
                  <a:pPr algn="ctr"/>
                  <a:r>
                    <a:rPr lang="en-US" sz="1300" b="1" dirty="0">
                      <a:solidFill>
                        <a:schemeClr val="tx2"/>
                      </a:solidFill>
                    </a:rPr>
                    <a:t>External Data Index Service</a:t>
                  </a:r>
                </a:p>
                <a:p>
                  <a:pPr algn="ctr"/>
                  <a:r>
                    <a:rPr lang="en-US" sz="1200" b="1" i="1" dirty="0">
                      <a:solidFill>
                        <a:schemeClr val="tx2"/>
                      </a:solidFill>
                    </a:rPr>
                    <a:t>(EDIS)</a:t>
                  </a:r>
                </a:p>
              </p:txBody>
            </p:sp>
          </p:grpSp>
          <p:sp>
            <p:nvSpPr>
              <p:cNvPr id="74" name="Oval 73">
                <a:extLst>
                  <a:ext uri="{FF2B5EF4-FFF2-40B4-BE49-F238E27FC236}">
                    <a16:creationId xmlns:a16="http://schemas.microsoft.com/office/drawing/2014/main" id="{A978716B-E8B2-441F-A5A9-2A2F11559D2E}"/>
                  </a:ext>
                </a:extLst>
              </p:cNvPr>
              <p:cNvSpPr/>
              <p:nvPr/>
            </p:nvSpPr>
            <p:spPr bwMode="gray">
              <a:xfrm>
                <a:off x="4124012" y="4047426"/>
                <a:ext cx="1325695" cy="558023"/>
              </a:xfrm>
              <a:prstGeom prst="ellipse">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b="1" dirty="0">
                    <a:solidFill>
                      <a:schemeClr val="tx2"/>
                    </a:solidFill>
                  </a:rPr>
                  <a:t>EDIS</a:t>
                </a:r>
              </a:p>
              <a:p>
                <a:pPr algn="ctr"/>
                <a:r>
                  <a:rPr lang="en-US" sz="1100" b="1" dirty="0">
                    <a:solidFill>
                      <a:schemeClr val="tx2"/>
                    </a:solidFill>
                  </a:rPr>
                  <a:t>File Interface</a:t>
                </a:r>
              </a:p>
            </p:txBody>
          </p:sp>
          <p:sp>
            <p:nvSpPr>
              <p:cNvPr id="75" name="Oval 74">
                <a:extLst>
                  <a:ext uri="{FF2B5EF4-FFF2-40B4-BE49-F238E27FC236}">
                    <a16:creationId xmlns:a16="http://schemas.microsoft.com/office/drawing/2014/main" id="{A4E9BBFC-D47C-4A4B-9668-6FDA060324CE}"/>
                  </a:ext>
                </a:extLst>
              </p:cNvPr>
              <p:cNvSpPr/>
              <p:nvPr/>
            </p:nvSpPr>
            <p:spPr bwMode="gray">
              <a:xfrm>
                <a:off x="960385" y="4047426"/>
                <a:ext cx="1325695" cy="558023"/>
              </a:xfrm>
              <a:prstGeom prst="ellipse">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b="1" dirty="0">
                    <a:solidFill>
                      <a:schemeClr val="tx2"/>
                    </a:solidFill>
                  </a:rPr>
                  <a:t>EDIS</a:t>
                </a:r>
              </a:p>
              <a:p>
                <a:pPr algn="ctr"/>
                <a:r>
                  <a:rPr lang="en-US" sz="1100" b="1" dirty="0">
                    <a:solidFill>
                      <a:schemeClr val="tx2"/>
                    </a:solidFill>
                  </a:rPr>
                  <a:t>APIs</a:t>
                </a:r>
              </a:p>
            </p:txBody>
          </p:sp>
          <p:cxnSp>
            <p:nvCxnSpPr>
              <p:cNvPr id="25" name="Straight Arrow Connector 24">
                <a:extLst>
                  <a:ext uri="{FF2B5EF4-FFF2-40B4-BE49-F238E27FC236}">
                    <a16:creationId xmlns:a16="http://schemas.microsoft.com/office/drawing/2014/main" id="{0FD92F1F-404B-4B75-922F-DC7CBDD99712}"/>
                  </a:ext>
                </a:extLst>
              </p:cNvPr>
              <p:cNvCxnSpPr>
                <a:cxnSpLocks/>
                <a:stCxn id="12" idx="2"/>
              </p:cNvCxnSpPr>
              <p:nvPr/>
            </p:nvCxnSpPr>
            <p:spPr>
              <a:xfrm flipH="1">
                <a:off x="3735695" y="1609753"/>
                <a:ext cx="1060269" cy="67741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0" name="Connector: Elbow 19">
                <a:extLst>
                  <a:ext uri="{FF2B5EF4-FFF2-40B4-BE49-F238E27FC236}">
                    <a16:creationId xmlns:a16="http://schemas.microsoft.com/office/drawing/2014/main" id="{348D7C3F-B83C-43A8-9D28-CCC9C4BBB069}"/>
                  </a:ext>
                </a:extLst>
              </p:cNvPr>
              <p:cNvCxnSpPr>
                <a:cxnSpLocks/>
                <a:stCxn id="8" idx="2"/>
                <a:endCxn id="7" idx="1"/>
              </p:cNvCxnSpPr>
              <p:nvPr/>
            </p:nvCxnSpPr>
            <p:spPr>
              <a:xfrm rot="16200000" flipH="1">
                <a:off x="1515286" y="2853511"/>
                <a:ext cx="285114" cy="346"/>
              </a:xfrm>
              <a:prstGeom prst="bentConnector3">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8FEF314A-9932-4F10-8E0C-6B6DF5F71CD9}"/>
                  </a:ext>
                </a:extLst>
              </p:cNvPr>
              <p:cNvCxnSpPr>
                <a:cxnSpLocks/>
                <a:stCxn id="10" idx="0"/>
                <a:endCxn id="9" idx="2"/>
              </p:cNvCxnSpPr>
              <p:nvPr/>
            </p:nvCxnSpPr>
            <p:spPr>
              <a:xfrm flipV="1">
                <a:off x="3210121" y="2711127"/>
                <a:ext cx="0" cy="371293"/>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03" name="Straight Arrow Connector 202">
                <a:extLst>
                  <a:ext uri="{FF2B5EF4-FFF2-40B4-BE49-F238E27FC236}">
                    <a16:creationId xmlns:a16="http://schemas.microsoft.com/office/drawing/2014/main" id="{C8A4CE5A-2494-44D7-B7F2-6D9571F3E921}"/>
                  </a:ext>
                </a:extLst>
              </p:cNvPr>
              <p:cNvCxnSpPr>
                <a:cxnSpLocks/>
                <a:stCxn id="9" idx="3"/>
                <a:endCxn id="11" idx="2"/>
              </p:cNvCxnSpPr>
              <p:nvPr/>
            </p:nvCxnSpPr>
            <p:spPr>
              <a:xfrm>
                <a:off x="3735695" y="2499149"/>
                <a:ext cx="454058" cy="1613"/>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a:extLst>
                  <a:ext uri="{FF2B5EF4-FFF2-40B4-BE49-F238E27FC236}">
                    <a16:creationId xmlns:a16="http://schemas.microsoft.com/office/drawing/2014/main" id="{241AE13A-CC4B-4DEF-B58D-790536D65968}"/>
                  </a:ext>
                </a:extLst>
              </p:cNvPr>
              <p:cNvCxnSpPr>
                <a:cxnSpLocks/>
                <a:stCxn id="14" idx="4"/>
                <a:endCxn id="8" idx="0"/>
              </p:cNvCxnSpPr>
              <p:nvPr/>
            </p:nvCxnSpPr>
            <p:spPr>
              <a:xfrm>
                <a:off x="1656039" y="1691299"/>
                <a:ext cx="1631" cy="59587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77" name="Straight Arrow Connector 76">
                <a:extLst>
                  <a:ext uri="{FF2B5EF4-FFF2-40B4-BE49-F238E27FC236}">
                    <a16:creationId xmlns:a16="http://schemas.microsoft.com/office/drawing/2014/main" id="{314B6B92-81D6-44CF-9D1E-2622F4B5CE26}"/>
                  </a:ext>
                </a:extLst>
              </p:cNvPr>
              <p:cNvCxnSpPr>
                <a:cxnSpLocks/>
                <a:stCxn id="75" idx="0"/>
              </p:cNvCxnSpPr>
              <p:nvPr/>
            </p:nvCxnSpPr>
            <p:spPr>
              <a:xfrm flipV="1">
                <a:off x="1623233" y="3617472"/>
                <a:ext cx="587178" cy="429954"/>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81" name="Straight Arrow Connector 80">
                <a:extLst>
                  <a:ext uri="{FF2B5EF4-FFF2-40B4-BE49-F238E27FC236}">
                    <a16:creationId xmlns:a16="http://schemas.microsoft.com/office/drawing/2014/main" id="{55DB8148-7A1C-4214-95EB-96B315914489}"/>
                  </a:ext>
                </a:extLst>
              </p:cNvPr>
              <p:cNvCxnSpPr>
                <a:cxnSpLocks/>
                <a:stCxn id="74" idx="0"/>
              </p:cNvCxnSpPr>
              <p:nvPr/>
            </p:nvCxnSpPr>
            <p:spPr>
              <a:xfrm flipH="1" flipV="1">
                <a:off x="4173129" y="3639723"/>
                <a:ext cx="613731" cy="407703"/>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84" name="Straight Arrow Connector 83">
                <a:extLst>
                  <a:ext uri="{FF2B5EF4-FFF2-40B4-BE49-F238E27FC236}">
                    <a16:creationId xmlns:a16="http://schemas.microsoft.com/office/drawing/2014/main" id="{AADD1580-86CE-41C9-929B-AFF18F97AB28}"/>
                  </a:ext>
                </a:extLst>
              </p:cNvPr>
              <p:cNvCxnSpPr>
                <a:cxnSpLocks/>
                <a:endCxn id="74" idx="4"/>
              </p:cNvCxnSpPr>
              <p:nvPr/>
            </p:nvCxnSpPr>
            <p:spPr>
              <a:xfrm flipV="1">
                <a:off x="3735695" y="4605449"/>
                <a:ext cx="1051165" cy="386308"/>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87" name="Straight Arrow Connector 86">
                <a:extLst>
                  <a:ext uri="{FF2B5EF4-FFF2-40B4-BE49-F238E27FC236}">
                    <a16:creationId xmlns:a16="http://schemas.microsoft.com/office/drawing/2014/main" id="{8CAD02B0-10A2-42DD-9545-75B043F5409C}"/>
                  </a:ext>
                </a:extLst>
              </p:cNvPr>
              <p:cNvCxnSpPr>
                <a:cxnSpLocks/>
                <a:endCxn id="75" idx="4"/>
              </p:cNvCxnSpPr>
              <p:nvPr/>
            </p:nvCxnSpPr>
            <p:spPr>
              <a:xfrm flipH="1" flipV="1">
                <a:off x="1623233" y="4605449"/>
                <a:ext cx="1061313" cy="386308"/>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101" name="Straight Arrow Connector 100">
                <a:extLst>
                  <a:ext uri="{FF2B5EF4-FFF2-40B4-BE49-F238E27FC236}">
                    <a16:creationId xmlns:a16="http://schemas.microsoft.com/office/drawing/2014/main" id="{71581115-D1D8-47EE-9B9C-6BF539D02058}"/>
                  </a:ext>
                </a:extLst>
              </p:cNvPr>
              <p:cNvCxnSpPr>
                <a:cxnSpLocks/>
                <a:stCxn id="54" idx="8"/>
                <a:endCxn id="75" idx="6"/>
              </p:cNvCxnSpPr>
              <p:nvPr/>
            </p:nvCxnSpPr>
            <p:spPr>
              <a:xfrm flipH="1" flipV="1">
                <a:off x="2286080" y="4326438"/>
                <a:ext cx="813711" cy="314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11" name="Freeform 22">
                <a:extLst>
                  <a:ext uri="{FF2B5EF4-FFF2-40B4-BE49-F238E27FC236}">
                    <a16:creationId xmlns:a16="http://schemas.microsoft.com/office/drawing/2014/main" id="{BFE84C98-41FA-487B-9228-92CF6F468B5E}"/>
                  </a:ext>
                </a:extLst>
              </p:cNvPr>
              <p:cNvSpPr>
                <a:spLocks noEditPoints="1"/>
              </p:cNvSpPr>
              <p:nvPr/>
            </p:nvSpPr>
            <p:spPr bwMode="auto">
              <a:xfrm>
                <a:off x="812769" y="5266972"/>
                <a:ext cx="547275" cy="552689"/>
              </a:xfrm>
              <a:custGeom>
                <a:avLst/>
                <a:gdLst/>
                <a:ahLst/>
                <a:cxnLst>
                  <a:cxn ang="0">
                    <a:pos x="148" y="244"/>
                  </a:cxn>
                  <a:cxn ang="0">
                    <a:pos x="119" y="225"/>
                  </a:cxn>
                  <a:cxn ang="0">
                    <a:pos x="129" y="243"/>
                  </a:cxn>
                  <a:cxn ang="0">
                    <a:pos x="18" y="118"/>
                  </a:cxn>
                  <a:cxn ang="0">
                    <a:pos x="4" y="117"/>
                  </a:cxn>
                  <a:cxn ang="0">
                    <a:pos x="128" y="257"/>
                  </a:cxn>
                  <a:cxn ang="0">
                    <a:pos x="120" y="266"/>
                  </a:cxn>
                  <a:cxn ang="0">
                    <a:pos x="125" y="277"/>
                  </a:cxn>
                  <a:cxn ang="0">
                    <a:pos x="149" y="254"/>
                  </a:cxn>
                  <a:cxn ang="0">
                    <a:pos x="149" y="245"/>
                  </a:cxn>
                  <a:cxn ang="0">
                    <a:pos x="221" y="55"/>
                  </a:cxn>
                  <a:cxn ang="0">
                    <a:pos x="219" y="55"/>
                  </a:cxn>
                  <a:cxn ang="0">
                    <a:pos x="217" y="55"/>
                  </a:cxn>
                  <a:cxn ang="0">
                    <a:pos x="216" y="56"/>
                  </a:cxn>
                  <a:cxn ang="0">
                    <a:pos x="215" y="57"/>
                  </a:cxn>
                  <a:cxn ang="0">
                    <a:pos x="213" y="59"/>
                  </a:cxn>
                  <a:cxn ang="0">
                    <a:pos x="206" y="87"/>
                  </a:cxn>
                  <a:cxn ang="0">
                    <a:pos x="213" y="95"/>
                  </a:cxn>
                  <a:cxn ang="0">
                    <a:pos x="222" y="76"/>
                  </a:cxn>
                  <a:cxn ang="0">
                    <a:pos x="169" y="235"/>
                  </a:cxn>
                  <a:cxn ang="0">
                    <a:pos x="172" y="247"/>
                  </a:cxn>
                  <a:cxn ang="0">
                    <a:pos x="203" y="230"/>
                  </a:cxn>
                  <a:cxn ang="0">
                    <a:pos x="247" y="74"/>
                  </a:cxn>
                  <a:cxn ang="0">
                    <a:pos x="249" y="61"/>
                  </a:cxn>
                  <a:cxn ang="0">
                    <a:pos x="208" y="167"/>
                  </a:cxn>
                  <a:cxn ang="0">
                    <a:pos x="205" y="146"/>
                  </a:cxn>
                  <a:cxn ang="0">
                    <a:pos x="151" y="126"/>
                  </a:cxn>
                  <a:cxn ang="0">
                    <a:pos x="104" y="126"/>
                  </a:cxn>
                  <a:cxn ang="0">
                    <a:pos x="50" y="146"/>
                  </a:cxn>
                  <a:cxn ang="0">
                    <a:pos x="46" y="167"/>
                  </a:cxn>
                  <a:cxn ang="0">
                    <a:pos x="77" y="177"/>
                  </a:cxn>
                  <a:cxn ang="0">
                    <a:pos x="85" y="210"/>
                  </a:cxn>
                  <a:cxn ang="0">
                    <a:pos x="110" y="216"/>
                  </a:cxn>
                  <a:cxn ang="0">
                    <a:pos x="141" y="220"/>
                  </a:cxn>
                  <a:cxn ang="0">
                    <a:pos x="168" y="177"/>
                  </a:cxn>
                  <a:cxn ang="0">
                    <a:pos x="182" y="202"/>
                  </a:cxn>
                  <a:cxn ang="0">
                    <a:pos x="127" y="45"/>
                  </a:cxn>
                  <a:cxn ang="0">
                    <a:pos x="127" y="115"/>
                  </a:cxn>
                  <a:cxn ang="0">
                    <a:pos x="4" y="64"/>
                  </a:cxn>
                  <a:cxn ang="0">
                    <a:pos x="17" y="60"/>
                  </a:cxn>
                  <a:cxn ang="0">
                    <a:pos x="51" y="36"/>
                  </a:cxn>
                  <a:cxn ang="0">
                    <a:pos x="204" y="44"/>
                  </a:cxn>
                  <a:cxn ang="0">
                    <a:pos x="59" y="46"/>
                  </a:cxn>
                  <a:cxn ang="0">
                    <a:pos x="44" y="75"/>
                  </a:cxn>
                  <a:cxn ang="0">
                    <a:pos x="48" y="88"/>
                  </a:cxn>
                  <a:cxn ang="0">
                    <a:pos x="19" y="96"/>
                  </a:cxn>
                  <a:cxn ang="0">
                    <a:pos x="17" y="96"/>
                  </a:cxn>
                  <a:cxn ang="0">
                    <a:pos x="15" y="95"/>
                  </a:cxn>
                  <a:cxn ang="0">
                    <a:pos x="14" y="95"/>
                  </a:cxn>
                  <a:cxn ang="0">
                    <a:pos x="13" y="93"/>
                  </a:cxn>
                  <a:cxn ang="0">
                    <a:pos x="12" y="91"/>
                  </a:cxn>
                </a:cxnLst>
                <a:rect l="0" t="0" r="r" b="b"/>
                <a:pathLst>
                  <a:path w="265" h="277">
                    <a:moveTo>
                      <a:pt x="149" y="245"/>
                    </a:moveTo>
                    <a:cubicBezTo>
                      <a:pt x="149" y="245"/>
                      <a:pt x="149" y="244"/>
                      <a:pt x="148" y="244"/>
                    </a:cubicBezTo>
                    <a:cubicBezTo>
                      <a:pt x="128" y="224"/>
                      <a:pt x="128" y="224"/>
                      <a:pt x="128" y="224"/>
                    </a:cubicBezTo>
                    <a:cubicBezTo>
                      <a:pt x="125" y="222"/>
                      <a:pt x="121" y="222"/>
                      <a:pt x="119" y="225"/>
                    </a:cubicBezTo>
                    <a:cubicBezTo>
                      <a:pt x="116" y="227"/>
                      <a:pt x="116" y="231"/>
                      <a:pt x="119" y="234"/>
                    </a:cubicBezTo>
                    <a:cubicBezTo>
                      <a:pt x="129" y="243"/>
                      <a:pt x="129" y="243"/>
                      <a:pt x="129" y="243"/>
                    </a:cubicBezTo>
                    <a:cubicBezTo>
                      <a:pt x="95" y="244"/>
                      <a:pt x="62" y="228"/>
                      <a:pt x="41" y="201"/>
                    </a:cubicBezTo>
                    <a:cubicBezTo>
                      <a:pt x="22" y="178"/>
                      <a:pt x="13" y="148"/>
                      <a:pt x="18" y="118"/>
                    </a:cubicBezTo>
                    <a:cubicBezTo>
                      <a:pt x="19" y="115"/>
                      <a:pt x="15" y="112"/>
                      <a:pt x="12" y="111"/>
                    </a:cubicBezTo>
                    <a:cubicBezTo>
                      <a:pt x="8" y="111"/>
                      <a:pt x="5" y="113"/>
                      <a:pt x="4" y="117"/>
                    </a:cubicBezTo>
                    <a:cubicBezTo>
                      <a:pt x="0" y="150"/>
                      <a:pt x="9" y="183"/>
                      <a:pt x="31" y="209"/>
                    </a:cubicBezTo>
                    <a:cubicBezTo>
                      <a:pt x="54" y="239"/>
                      <a:pt x="90" y="257"/>
                      <a:pt x="128" y="257"/>
                    </a:cubicBezTo>
                    <a:cubicBezTo>
                      <a:pt x="128" y="257"/>
                      <a:pt x="128" y="257"/>
                      <a:pt x="128" y="257"/>
                    </a:cubicBezTo>
                    <a:cubicBezTo>
                      <a:pt x="120" y="266"/>
                      <a:pt x="120" y="266"/>
                      <a:pt x="120" y="266"/>
                    </a:cubicBezTo>
                    <a:cubicBezTo>
                      <a:pt x="117" y="269"/>
                      <a:pt x="118" y="273"/>
                      <a:pt x="120" y="275"/>
                    </a:cubicBezTo>
                    <a:cubicBezTo>
                      <a:pt x="121" y="276"/>
                      <a:pt x="123" y="277"/>
                      <a:pt x="125" y="277"/>
                    </a:cubicBezTo>
                    <a:cubicBezTo>
                      <a:pt x="126" y="277"/>
                      <a:pt x="128" y="276"/>
                      <a:pt x="129" y="275"/>
                    </a:cubicBezTo>
                    <a:cubicBezTo>
                      <a:pt x="149" y="254"/>
                      <a:pt x="149" y="254"/>
                      <a:pt x="149" y="254"/>
                    </a:cubicBezTo>
                    <a:cubicBezTo>
                      <a:pt x="150" y="253"/>
                      <a:pt x="151" y="251"/>
                      <a:pt x="150" y="248"/>
                    </a:cubicBezTo>
                    <a:cubicBezTo>
                      <a:pt x="150" y="247"/>
                      <a:pt x="150" y="246"/>
                      <a:pt x="149" y="245"/>
                    </a:cubicBezTo>
                    <a:close/>
                    <a:moveTo>
                      <a:pt x="249" y="61"/>
                    </a:moveTo>
                    <a:cubicBezTo>
                      <a:pt x="221" y="55"/>
                      <a:pt x="221" y="55"/>
                      <a:pt x="221" y="55"/>
                    </a:cubicBezTo>
                    <a:cubicBezTo>
                      <a:pt x="221" y="55"/>
                      <a:pt x="221" y="55"/>
                      <a:pt x="220" y="55"/>
                    </a:cubicBezTo>
                    <a:cubicBezTo>
                      <a:pt x="220" y="55"/>
                      <a:pt x="220" y="55"/>
                      <a:pt x="219" y="55"/>
                    </a:cubicBezTo>
                    <a:cubicBezTo>
                      <a:pt x="218" y="55"/>
                      <a:pt x="218" y="55"/>
                      <a:pt x="218" y="55"/>
                    </a:cubicBezTo>
                    <a:cubicBezTo>
                      <a:pt x="217" y="55"/>
                      <a:pt x="217" y="55"/>
                      <a:pt x="217" y="55"/>
                    </a:cubicBezTo>
                    <a:cubicBezTo>
                      <a:pt x="216" y="55"/>
                      <a:pt x="216" y="55"/>
                      <a:pt x="216" y="55"/>
                    </a:cubicBezTo>
                    <a:cubicBezTo>
                      <a:pt x="216" y="56"/>
                      <a:pt x="216" y="56"/>
                      <a:pt x="216" y="56"/>
                    </a:cubicBezTo>
                    <a:cubicBezTo>
                      <a:pt x="215" y="56"/>
                      <a:pt x="215" y="56"/>
                      <a:pt x="215" y="56"/>
                    </a:cubicBezTo>
                    <a:cubicBezTo>
                      <a:pt x="215" y="56"/>
                      <a:pt x="215" y="56"/>
                      <a:pt x="215" y="57"/>
                    </a:cubicBezTo>
                    <a:cubicBezTo>
                      <a:pt x="215" y="57"/>
                      <a:pt x="214" y="57"/>
                      <a:pt x="214" y="58"/>
                    </a:cubicBezTo>
                    <a:cubicBezTo>
                      <a:pt x="214" y="58"/>
                      <a:pt x="214" y="58"/>
                      <a:pt x="213" y="59"/>
                    </a:cubicBezTo>
                    <a:cubicBezTo>
                      <a:pt x="213" y="59"/>
                      <a:pt x="213" y="59"/>
                      <a:pt x="213" y="59"/>
                    </a:cubicBezTo>
                    <a:cubicBezTo>
                      <a:pt x="206" y="87"/>
                      <a:pt x="206" y="87"/>
                      <a:pt x="206" y="87"/>
                    </a:cubicBezTo>
                    <a:cubicBezTo>
                      <a:pt x="206" y="91"/>
                      <a:pt x="208" y="94"/>
                      <a:pt x="211" y="95"/>
                    </a:cubicBezTo>
                    <a:cubicBezTo>
                      <a:pt x="212" y="95"/>
                      <a:pt x="212" y="95"/>
                      <a:pt x="213" y="95"/>
                    </a:cubicBezTo>
                    <a:cubicBezTo>
                      <a:pt x="216" y="95"/>
                      <a:pt x="218" y="93"/>
                      <a:pt x="219" y="90"/>
                    </a:cubicBezTo>
                    <a:cubicBezTo>
                      <a:pt x="222" y="76"/>
                      <a:pt x="222" y="76"/>
                      <a:pt x="222" y="76"/>
                    </a:cubicBezTo>
                    <a:cubicBezTo>
                      <a:pt x="251" y="123"/>
                      <a:pt x="241" y="185"/>
                      <a:pt x="196" y="220"/>
                    </a:cubicBezTo>
                    <a:cubicBezTo>
                      <a:pt x="188" y="226"/>
                      <a:pt x="179" y="231"/>
                      <a:pt x="169" y="235"/>
                    </a:cubicBezTo>
                    <a:cubicBezTo>
                      <a:pt x="166" y="236"/>
                      <a:pt x="165" y="240"/>
                      <a:pt x="166" y="243"/>
                    </a:cubicBezTo>
                    <a:cubicBezTo>
                      <a:pt x="167" y="246"/>
                      <a:pt x="169" y="247"/>
                      <a:pt x="172" y="247"/>
                    </a:cubicBezTo>
                    <a:cubicBezTo>
                      <a:pt x="173" y="247"/>
                      <a:pt x="173" y="247"/>
                      <a:pt x="174" y="247"/>
                    </a:cubicBezTo>
                    <a:cubicBezTo>
                      <a:pt x="185" y="243"/>
                      <a:pt x="195" y="237"/>
                      <a:pt x="203" y="230"/>
                    </a:cubicBezTo>
                    <a:cubicBezTo>
                      <a:pt x="253" y="191"/>
                      <a:pt x="265" y="123"/>
                      <a:pt x="235" y="71"/>
                    </a:cubicBezTo>
                    <a:cubicBezTo>
                      <a:pt x="247" y="74"/>
                      <a:pt x="247" y="74"/>
                      <a:pt x="247" y="74"/>
                    </a:cubicBezTo>
                    <a:cubicBezTo>
                      <a:pt x="250" y="75"/>
                      <a:pt x="253" y="72"/>
                      <a:pt x="254" y="69"/>
                    </a:cubicBezTo>
                    <a:cubicBezTo>
                      <a:pt x="255" y="66"/>
                      <a:pt x="253" y="62"/>
                      <a:pt x="249" y="61"/>
                    </a:cubicBezTo>
                    <a:close/>
                    <a:moveTo>
                      <a:pt x="182" y="202"/>
                    </a:moveTo>
                    <a:cubicBezTo>
                      <a:pt x="193" y="193"/>
                      <a:pt x="203" y="181"/>
                      <a:pt x="208" y="167"/>
                    </a:cubicBezTo>
                    <a:cubicBezTo>
                      <a:pt x="205" y="148"/>
                      <a:pt x="205" y="148"/>
                      <a:pt x="205" y="148"/>
                    </a:cubicBezTo>
                    <a:cubicBezTo>
                      <a:pt x="205" y="148"/>
                      <a:pt x="205" y="147"/>
                      <a:pt x="205" y="146"/>
                    </a:cubicBezTo>
                    <a:cubicBezTo>
                      <a:pt x="201" y="134"/>
                      <a:pt x="189" y="126"/>
                      <a:pt x="175" y="126"/>
                    </a:cubicBezTo>
                    <a:cubicBezTo>
                      <a:pt x="151" y="126"/>
                      <a:pt x="151" y="126"/>
                      <a:pt x="151" y="126"/>
                    </a:cubicBezTo>
                    <a:cubicBezTo>
                      <a:pt x="128" y="156"/>
                      <a:pt x="128" y="156"/>
                      <a:pt x="128" y="156"/>
                    </a:cubicBezTo>
                    <a:cubicBezTo>
                      <a:pt x="104" y="126"/>
                      <a:pt x="104" y="126"/>
                      <a:pt x="104" y="126"/>
                    </a:cubicBezTo>
                    <a:cubicBezTo>
                      <a:pt x="80" y="126"/>
                      <a:pt x="80" y="126"/>
                      <a:pt x="80" y="126"/>
                    </a:cubicBezTo>
                    <a:cubicBezTo>
                      <a:pt x="66" y="126"/>
                      <a:pt x="54" y="134"/>
                      <a:pt x="50" y="146"/>
                    </a:cubicBezTo>
                    <a:cubicBezTo>
                      <a:pt x="50" y="147"/>
                      <a:pt x="50" y="148"/>
                      <a:pt x="50" y="148"/>
                    </a:cubicBezTo>
                    <a:cubicBezTo>
                      <a:pt x="46" y="167"/>
                      <a:pt x="46" y="167"/>
                      <a:pt x="46" y="167"/>
                    </a:cubicBezTo>
                    <a:cubicBezTo>
                      <a:pt x="52" y="181"/>
                      <a:pt x="61" y="193"/>
                      <a:pt x="73" y="202"/>
                    </a:cubicBezTo>
                    <a:cubicBezTo>
                      <a:pt x="77" y="177"/>
                      <a:pt x="77" y="177"/>
                      <a:pt x="77" y="177"/>
                    </a:cubicBezTo>
                    <a:cubicBezTo>
                      <a:pt x="86" y="177"/>
                      <a:pt x="86" y="177"/>
                      <a:pt x="86" y="177"/>
                    </a:cubicBezTo>
                    <a:cubicBezTo>
                      <a:pt x="85" y="210"/>
                      <a:pt x="85" y="210"/>
                      <a:pt x="85" y="210"/>
                    </a:cubicBezTo>
                    <a:cubicBezTo>
                      <a:pt x="92" y="214"/>
                      <a:pt x="99" y="217"/>
                      <a:pt x="107" y="219"/>
                    </a:cubicBezTo>
                    <a:cubicBezTo>
                      <a:pt x="108" y="218"/>
                      <a:pt x="109" y="217"/>
                      <a:pt x="110" y="216"/>
                    </a:cubicBezTo>
                    <a:cubicBezTo>
                      <a:pt x="117" y="208"/>
                      <a:pt x="129" y="208"/>
                      <a:pt x="137" y="215"/>
                    </a:cubicBezTo>
                    <a:cubicBezTo>
                      <a:pt x="141" y="220"/>
                      <a:pt x="141" y="220"/>
                      <a:pt x="141" y="220"/>
                    </a:cubicBezTo>
                    <a:cubicBezTo>
                      <a:pt x="152" y="218"/>
                      <a:pt x="161" y="215"/>
                      <a:pt x="170" y="210"/>
                    </a:cubicBezTo>
                    <a:cubicBezTo>
                      <a:pt x="168" y="177"/>
                      <a:pt x="168" y="177"/>
                      <a:pt x="168" y="177"/>
                    </a:cubicBezTo>
                    <a:cubicBezTo>
                      <a:pt x="178" y="177"/>
                      <a:pt x="178" y="177"/>
                      <a:pt x="178" y="177"/>
                    </a:cubicBezTo>
                    <a:lnTo>
                      <a:pt x="182" y="202"/>
                    </a:lnTo>
                    <a:close/>
                    <a:moveTo>
                      <a:pt x="163" y="80"/>
                    </a:moveTo>
                    <a:cubicBezTo>
                      <a:pt x="163" y="61"/>
                      <a:pt x="147" y="45"/>
                      <a:pt x="127" y="45"/>
                    </a:cubicBezTo>
                    <a:cubicBezTo>
                      <a:pt x="108" y="45"/>
                      <a:pt x="92" y="61"/>
                      <a:pt x="92" y="80"/>
                    </a:cubicBezTo>
                    <a:cubicBezTo>
                      <a:pt x="92" y="100"/>
                      <a:pt x="108" y="115"/>
                      <a:pt x="127" y="115"/>
                    </a:cubicBezTo>
                    <a:cubicBezTo>
                      <a:pt x="147" y="115"/>
                      <a:pt x="163" y="100"/>
                      <a:pt x="163" y="80"/>
                    </a:cubicBezTo>
                    <a:close/>
                    <a:moveTo>
                      <a:pt x="4" y="64"/>
                    </a:moveTo>
                    <a:cubicBezTo>
                      <a:pt x="3" y="61"/>
                      <a:pt x="5" y="57"/>
                      <a:pt x="8" y="56"/>
                    </a:cubicBezTo>
                    <a:cubicBezTo>
                      <a:pt x="11" y="55"/>
                      <a:pt x="15" y="57"/>
                      <a:pt x="17" y="60"/>
                    </a:cubicBezTo>
                    <a:cubicBezTo>
                      <a:pt x="20" y="72"/>
                      <a:pt x="20" y="72"/>
                      <a:pt x="20" y="72"/>
                    </a:cubicBezTo>
                    <a:cubicBezTo>
                      <a:pt x="28" y="58"/>
                      <a:pt x="39" y="46"/>
                      <a:pt x="51" y="36"/>
                    </a:cubicBezTo>
                    <a:cubicBezTo>
                      <a:pt x="96" y="0"/>
                      <a:pt x="158" y="0"/>
                      <a:pt x="203" y="35"/>
                    </a:cubicBezTo>
                    <a:cubicBezTo>
                      <a:pt x="205" y="38"/>
                      <a:pt x="206" y="42"/>
                      <a:pt x="204" y="44"/>
                    </a:cubicBezTo>
                    <a:cubicBezTo>
                      <a:pt x="202" y="47"/>
                      <a:pt x="198" y="48"/>
                      <a:pt x="195" y="46"/>
                    </a:cubicBezTo>
                    <a:cubicBezTo>
                      <a:pt x="155" y="15"/>
                      <a:pt x="99" y="15"/>
                      <a:pt x="59" y="46"/>
                    </a:cubicBezTo>
                    <a:cubicBezTo>
                      <a:pt x="48" y="55"/>
                      <a:pt x="38" y="67"/>
                      <a:pt x="31" y="79"/>
                    </a:cubicBezTo>
                    <a:cubicBezTo>
                      <a:pt x="44" y="75"/>
                      <a:pt x="44" y="75"/>
                      <a:pt x="44" y="75"/>
                    </a:cubicBezTo>
                    <a:cubicBezTo>
                      <a:pt x="48" y="74"/>
                      <a:pt x="51" y="76"/>
                      <a:pt x="52" y="80"/>
                    </a:cubicBezTo>
                    <a:cubicBezTo>
                      <a:pt x="53" y="83"/>
                      <a:pt x="51" y="87"/>
                      <a:pt x="48" y="88"/>
                    </a:cubicBezTo>
                    <a:cubicBezTo>
                      <a:pt x="21" y="96"/>
                      <a:pt x="21" y="96"/>
                      <a:pt x="21" y="96"/>
                    </a:cubicBezTo>
                    <a:cubicBezTo>
                      <a:pt x="21" y="96"/>
                      <a:pt x="20" y="96"/>
                      <a:pt x="19" y="96"/>
                    </a:cubicBezTo>
                    <a:cubicBezTo>
                      <a:pt x="19" y="96"/>
                      <a:pt x="19" y="96"/>
                      <a:pt x="18" y="96"/>
                    </a:cubicBezTo>
                    <a:cubicBezTo>
                      <a:pt x="18" y="96"/>
                      <a:pt x="18" y="96"/>
                      <a:pt x="17" y="96"/>
                    </a:cubicBezTo>
                    <a:cubicBezTo>
                      <a:pt x="17" y="96"/>
                      <a:pt x="17" y="96"/>
                      <a:pt x="17" y="96"/>
                    </a:cubicBezTo>
                    <a:cubicBezTo>
                      <a:pt x="17" y="95"/>
                      <a:pt x="15" y="95"/>
                      <a:pt x="15" y="95"/>
                    </a:cubicBezTo>
                    <a:cubicBezTo>
                      <a:pt x="15" y="95"/>
                      <a:pt x="15" y="95"/>
                      <a:pt x="15" y="95"/>
                    </a:cubicBezTo>
                    <a:cubicBezTo>
                      <a:pt x="15" y="95"/>
                      <a:pt x="15" y="95"/>
                      <a:pt x="14" y="95"/>
                    </a:cubicBezTo>
                    <a:cubicBezTo>
                      <a:pt x="14" y="94"/>
                      <a:pt x="14" y="94"/>
                      <a:pt x="13" y="94"/>
                    </a:cubicBezTo>
                    <a:cubicBezTo>
                      <a:pt x="13" y="93"/>
                      <a:pt x="13" y="93"/>
                      <a:pt x="13" y="93"/>
                    </a:cubicBezTo>
                    <a:cubicBezTo>
                      <a:pt x="12" y="92"/>
                      <a:pt x="12" y="92"/>
                      <a:pt x="12" y="92"/>
                    </a:cubicBezTo>
                    <a:cubicBezTo>
                      <a:pt x="12" y="92"/>
                      <a:pt x="12" y="92"/>
                      <a:pt x="12" y="91"/>
                    </a:cubicBezTo>
                    <a:lnTo>
                      <a:pt x="4" y="64"/>
                    </a:ln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grpSp>
            <p:nvGrpSpPr>
              <p:cNvPr id="112" name="Group 111">
                <a:extLst>
                  <a:ext uri="{FF2B5EF4-FFF2-40B4-BE49-F238E27FC236}">
                    <a16:creationId xmlns:a16="http://schemas.microsoft.com/office/drawing/2014/main" id="{925BB652-1C8E-44A9-8838-7AC45563CE70}"/>
                  </a:ext>
                </a:extLst>
              </p:cNvPr>
              <p:cNvGrpSpPr/>
              <p:nvPr/>
            </p:nvGrpSpPr>
            <p:grpSpPr>
              <a:xfrm>
                <a:off x="3092613" y="1076360"/>
                <a:ext cx="263510" cy="523432"/>
                <a:chOff x="3427413" y="4927600"/>
                <a:chExt cx="292100" cy="600075"/>
              </a:xfrm>
              <a:solidFill>
                <a:schemeClr val="accent2"/>
              </a:solidFill>
            </p:grpSpPr>
            <p:sp>
              <p:nvSpPr>
                <p:cNvPr id="113" name="Freeform 34">
                  <a:extLst>
                    <a:ext uri="{FF2B5EF4-FFF2-40B4-BE49-F238E27FC236}">
                      <a16:creationId xmlns:a16="http://schemas.microsoft.com/office/drawing/2014/main" id="{3F2A30FF-C556-4AB7-820C-32ED823EEA88}"/>
                    </a:ext>
                  </a:extLst>
                </p:cNvPr>
                <p:cNvSpPr>
                  <a:spLocks/>
                </p:cNvSpPr>
                <p:nvPr/>
              </p:nvSpPr>
              <p:spPr bwMode="auto">
                <a:xfrm>
                  <a:off x="3548063" y="5235575"/>
                  <a:ext cx="55563" cy="55563"/>
                </a:xfrm>
                <a:custGeom>
                  <a:avLst/>
                  <a:gdLst>
                    <a:gd name="T0" fmla="*/ 9 w 10"/>
                    <a:gd name="T1" fmla="*/ 8 h 10"/>
                    <a:gd name="T2" fmla="*/ 9 w 10"/>
                    <a:gd name="T3" fmla="*/ 8 h 10"/>
                    <a:gd name="T4" fmla="*/ 9 w 10"/>
                    <a:gd name="T5" fmla="*/ 8 h 10"/>
                    <a:gd name="T6" fmla="*/ 10 w 10"/>
                    <a:gd name="T7" fmla="*/ 7 h 10"/>
                    <a:gd name="T8" fmla="*/ 10 w 10"/>
                    <a:gd name="T9" fmla="*/ 7 h 10"/>
                    <a:gd name="T10" fmla="*/ 10 w 10"/>
                    <a:gd name="T11" fmla="*/ 7 h 10"/>
                    <a:gd name="T12" fmla="*/ 10 w 10"/>
                    <a:gd name="T13" fmla="*/ 4 h 10"/>
                    <a:gd name="T14" fmla="*/ 6 w 10"/>
                    <a:gd name="T15" fmla="*/ 0 h 10"/>
                    <a:gd name="T16" fmla="*/ 3 w 10"/>
                    <a:gd name="T17" fmla="*/ 0 h 10"/>
                    <a:gd name="T18" fmla="*/ 0 w 10"/>
                    <a:gd name="T19" fmla="*/ 4 h 10"/>
                    <a:gd name="T20" fmla="*/ 0 w 10"/>
                    <a:gd name="T21" fmla="*/ 7 h 10"/>
                    <a:gd name="T22" fmla="*/ 0 w 10"/>
                    <a:gd name="T23" fmla="*/ 7 h 10"/>
                    <a:gd name="T24" fmla="*/ 0 w 10"/>
                    <a:gd name="T25" fmla="*/ 7 h 10"/>
                    <a:gd name="T26" fmla="*/ 0 w 10"/>
                    <a:gd name="T27" fmla="*/ 8 h 10"/>
                    <a:gd name="T28" fmla="*/ 0 w 10"/>
                    <a:gd name="T29" fmla="*/ 8 h 10"/>
                    <a:gd name="T30" fmla="*/ 0 w 10"/>
                    <a:gd name="T31" fmla="*/ 8 h 10"/>
                    <a:gd name="T32" fmla="*/ 0 w 10"/>
                    <a:gd name="T33" fmla="*/ 9 h 10"/>
                    <a:gd name="T34" fmla="*/ 0 w 10"/>
                    <a:gd name="T35" fmla="*/ 9 h 10"/>
                    <a:gd name="T36" fmla="*/ 1 w 10"/>
                    <a:gd name="T37" fmla="*/ 9 h 10"/>
                    <a:gd name="T38" fmla="*/ 1 w 10"/>
                    <a:gd name="T39" fmla="*/ 9 h 10"/>
                    <a:gd name="T40" fmla="*/ 1 w 10"/>
                    <a:gd name="T41" fmla="*/ 10 h 10"/>
                    <a:gd name="T42" fmla="*/ 2 w 10"/>
                    <a:gd name="T43" fmla="*/ 10 h 10"/>
                    <a:gd name="T44" fmla="*/ 3 w 10"/>
                    <a:gd name="T45" fmla="*/ 10 h 10"/>
                    <a:gd name="T46" fmla="*/ 3 w 10"/>
                    <a:gd name="T47" fmla="*/ 10 h 10"/>
                    <a:gd name="T48" fmla="*/ 6 w 10"/>
                    <a:gd name="T49" fmla="*/ 10 h 10"/>
                    <a:gd name="T50" fmla="*/ 7 w 10"/>
                    <a:gd name="T51" fmla="*/ 10 h 10"/>
                    <a:gd name="T52" fmla="*/ 8 w 10"/>
                    <a:gd name="T53" fmla="*/ 10 h 10"/>
                    <a:gd name="T54" fmla="*/ 8 w 10"/>
                    <a:gd name="T55" fmla="*/ 10 h 10"/>
                    <a:gd name="T56" fmla="*/ 8 w 10"/>
                    <a:gd name="T57" fmla="*/ 9 h 10"/>
                    <a:gd name="T58" fmla="*/ 8 w 10"/>
                    <a:gd name="T59" fmla="*/ 9 h 10"/>
                    <a:gd name="T60" fmla="*/ 9 w 10"/>
                    <a:gd name="T61" fmla="*/ 9 h 10"/>
                    <a:gd name="T62" fmla="*/ 9 w 10"/>
                    <a:gd name="T63" fmla="*/ 9 h 10"/>
                    <a:gd name="T64" fmla="*/ 9 w 10"/>
                    <a:gd name="T6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0">
                      <a:moveTo>
                        <a:pt x="9" y="8"/>
                      </a:moveTo>
                      <a:cubicBezTo>
                        <a:pt x="9" y="8"/>
                        <a:pt x="9" y="8"/>
                        <a:pt x="9" y="8"/>
                      </a:cubicBezTo>
                      <a:cubicBezTo>
                        <a:pt x="9" y="8"/>
                        <a:pt x="9" y="8"/>
                        <a:pt x="9" y="8"/>
                      </a:cubicBezTo>
                      <a:cubicBezTo>
                        <a:pt x="9" y="8"/>
                        <a:pt x="9" y="8"/>
                        <a:pt x="10" y="7"/>
                      </a:cubicBezTo>
                      <a:cubicBezTo>
                        <a:pt x="10" y="7"/>
                        <a:pt x="10" y="7"/>
                        <a:pt x="10" y="7"/>
                      </a:cubicBezTo>
                      <a:cubicBezTo>
                        <a:pt x="10" y="7"/>
                        <a:pt x="10" y="7"/>
                        <a:pt x="10" y="7"/>
                      </a:cubicBezTo>
                      <a:cubicBezTo>
                        <a:pt x="10" y="4"/>
                        <a:pt x="10" y="4"/>
                        <a:pt x="10" y="4"/>
                      </a:cubicBezTo>
                      <a:cubicBezTo>
                        <a:pt x="10" y="2"/>
                        <a:pt x="8" y="0"/>
                        <a:pt x="6" y="0"/>
                      </a:cubicBezTo>
                      <a:cubicBezTo>
                        <a:pt x="3" y="0"/>
                        <a:pt x="3" y="0"/>
                        <a:pt x="3" y="0"/>
                      </a:cubicBezTo>
                      <a:cubicBezTo>
                        <a:pt x="1" y="0"/>
                        <a:pt x="0" y="2"/>
                        <a:pt x="0" y="4"/>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1" y="9"/>
                        <a:pt x="1" y="9"/>
                        <a:pt x="1" y="9"/>
                      </a:cubicBezTo>
                      <a:cubicBezTo>
                        <a:pt x="1" y="9"/>
                        <a:pt x="1" y="9"/>
                        <a:pt x="1" y="9"/>
                      </a:cubicBezTo>
                      <a:cubicBezTo>
                        <a:pt x="1" y="10"/>
                        <a:pt x="1" y="10"/>
                        <a:pt x="1" y="10"/>
                      </a:cubicBezTo>
                      <a:cubicBezTo>
                        <a:pt x="2" y="10"/>
                        <a:pt x="2" y="10"/>
                        <a:pt x="2" y="10"/>
                      </a:cubicBezTo>
                      <a:cubicBezTo>
                        <a:pt x="2" y="10"/>
                        <a:pt x="2" y="10"/>
                        <a:pt x="3" y="10"/>
                      </a:cubicBezTo>
                      <a:cubicBezTo>
                        <a:pt x="3" y="10"/>
                        <a:pt x="3" y="10"/>
                        <a:pt x="3" y="10"/>
                      </a:cubicBezTo>
                      <a:cubicBezTo>
                        <a:pt x="6" y="10"/>
                        <a:pt x="6" y="10"/>
                        <a:pt x="6" y="10"/>
                      </a:cubicBezTo>
                      <a:cubicBezTo>
                        <a:pt x="6" y="10"/>
                        <a:pt x="6" y="10"/>
                        <a:pt x="7" y="10"/>
                      </a:cubicBezTo>
                      <a:cubicBezTo>
                        <a:pt x="7" y="10"/>
                        <a:pt x="7" y="10"/>
                        <a:pt x="8" y="10"/>
                      </a:cubicBezTo>
                      <a:cubicBezTo>
                        <a:pt x="8" y="10"/>
                        <a:pt x="8" y="10"/>
                        <a:pt x="8" y="10"/>
                      </a:cubicBezTo>
                      <a:cubicBezTo>
                        <a:pt x="8" y="10"/>
                        <a:pt x="8" y="10"/>
                        <a:pt x="8" y="9"/>
                      </a:cubicBezTo>
                      <a:cubicBezTo>
                        <a:pt x="8" y="9"/>
                        <a:pt x="8" y="9"/>
                        <a:pt x="8" y="9"/>
                      </a:cubicBezTo>
                      <a:cubicBezTo>
                        <a:pt x="8" y="9"/>
                        <a:pt x="9" y="9"/>
                        <a:pt x="9" y="9"/>
                      </a:cubicBezTo>
                      <a:cubicBezTo>
                        <a:pt x="9" y="9"/>
                        <a:pt x="9" y="9"/>
                        <a:pt x="9" y="9"/>
                      </a:cubicBezTo>
                      <a:cubicBezTo>
                        <a:pt x="9" y="9"/>
                        <a:pt x="9" y="8"/>
                        <a:pt x="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14" name="Oval 35">
                  <a:extLst>
                    <a:ext uri="{FF2B5EF4-FFF2-40B4-BE49-F238E27FC236}">
                      <a16:creationId xmlns:a16="http://schemas.microsoft.com/office/drawing/2014/main" id="{D55B346C-13F2-4E56-BCC9-004984601CD9}"/>
                    </a:ext>
                  </a:extLst>
                </p:cNvPr>
                <p:cNvSpPr>
                  <a:spLocks noChangeArrowheads="1"/>
                </p:cNvSpPr>
                <p:nvPr/>
              </p:nvSpPr>
              <p:spPr bwMode="auto">
                <a:xfrm>
                  <a:off x="3427413" y="4927600"/>
                  <a:ext cx="292100" cy="29210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15" name="Freeform 36">
                  <a:extLst>
                    <a:ext uri="{FF2B5EF4-FFF2-40B4-BE49-F238E27FC236}">
                      <a16:creationId xmlns:a16="http://schemas.microsoft.com/office/drawing/2014/main" id="{CCACDAD2-96AB-421D-9606-69885733DF6C}"/>
                    </a:ext>
                  </a:extLst>
                </p:cNvPr>
                <p:cNvSpPr>
                  <a:spLocks noEditPoints="1"/>
                </p:cNvSpPr>
                <p:nvPr/>
              </p:nvSpPr>
              <p:spPr bwMode="auto">
                <a:xfrm>
                  <a:off x="3427413" y="5251450"/>
                  <a:ext cx="292100" cy="276225"/>
                </a:xfrm>
                <a:custGeom>
                  <a:avLst/>
                  <a:gdLst>
                    <a:gd name="T0" fmla="*/ 53 w 53"/>
                    <a:gd name="T1" fmla="*/ 21 h 50"/>
                    <a:gd name="T2" fmla="*/ 43 w 53"/>
                    <a:gd name="T3" fmla="*/ 0 h 50"/>
                    <a:gd name="T4" fmla="*/ 30 w 53"/>
                    <a:gd name="T5" fmla="*/ 16 h 50"/>
                    <a:gd name="T6" fmla="*/ 29 w 53"/>
                    <a:gd name="T7" fmla="*/ 9 h 50"/>
                    <a:gd name="T8" fmla="*/ 28 w 53"/>
                    <a:gd name="T9" fmla="*/ 9 h 50"/>
                    <a:gd name="T10" fmla="*/ 25 w 53"/>
                    <a:gd name="T11" fmla="*/ 9 h 50"/>
                    <a:gd name="T12" fmla="*/ 24 w 53"/>
                    <a:gd name="T13" fmla="*/ 9 h 50"/>
                    <a:gd name="T14" fmla="*/ 23 w 53"/>
                    <a:gd name="T15" fmla="*/ 16 h 50"/>
                    <a:gd name="T16" fmla="*/ 10 w 53"/>
                    <a:gd name="T17" fmla="*/ 0 h 50"/>
                    <a:gd name="T18" fmla="*/ 0 w 53"/>
                    <a:gd name="T19" fmla="*/ 21 h 50"/>
                    <a:gd name="T20" fmla="*/ 0 w 53"/>
                    <a:gd name="T21" fmla="*/ 21 h 50"/>
                    <a:gd name="T22" fmla="*/ 0 w 53"/>
                    <a:gd name="T23" fmla="*/ 50 h 50"/>
                    <a:gd name="T24" fmla="*/ 53 w 53"/>
                    <a:gd name="T25" fmla="*/ 50 h 50"/>
                    <a:gd name="T26" fmla="*/ 53 w 53"/>
                    <a:gd name="T27" fmla="*/ 21 h 50"/>
                    <a:gd name="T28" fmla="*/ 47 w 53"/>
                    <a:gd name="T29" fmla="*/ 27 h 50"/>
                    <a:gd name="T30" fmla="*/ 33 w 53"/>
                    <a:gd name="T31" fmla="*/ 27 h 50"/>
                    <a:gd name="T32" fmla="*/ 33 w 53"/>
                    <a:gd name="T33" fmla="*/ 24 h 50"/>
                    <a:gd name="T34" fmla="*/ 47 w 53"/>
                    <a:gd name="T35" fmla="*/ 24 h 50"/>
                    <a:gd name="T36" fmla="*/ 47 w 53"/>
                    <a:gd name="T37" fmla="*/ 26 h 50"/>
                    <a:gd name="T38" fmla="*/ 47 w 53"/>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50">
                      <a:moveTo>
                        <a:pt x="53" y="21"/>
                      </a:moveTo>
                      <a:cubicBezTo>
                        <a:pt x="53" y="12"/>
                        <a:pt x="49" y="5"/>
                        <a:pt x="43" y="0"/>
                      </a:cubicBezTo>
                      <a:cubicBezTo>
                        <a:pt x="30" y="16"/>
                        <a:pt x="30" y="16"/>
                        <a:pt x="30" y="16"/>
                      </a:cubicBezTo>
                      <a:cubicBezTo>
                        <a:pt x="29" y="9"/>
                        <a:pt x="29" y="9"/>
                        <a:pt x="29" y="9"/>
                      </a:cubicBezTo>
                      <a:cubicBezTo>
                        <a:pt x="29" y="9"/>
                        <a:pt x="28" y="9"/>
                        <a:pt x="28" y="9"/>
                      </a:cubicBezTo>
                      <a:cubicBezTo>
                        <a:pt x="25" y="9"/>
                        <a:pt x="25" y="9"/>
                        <a:pt x="25" y="9"/>
                      </a:cubicBezTo>
                      <a:cubicBezTo>
                        <a:pt x="25" y="9"/>
                        <a:pt x="24" y="9"/>
                        <a:pt x="24" y="9"/>
                      </a:cubicBezTo>
                      <a:cubicBezTo>
                        <a:pt x="23" y="16"/>
                        <a:pt x="23" y="16"/>
                        <a:pt x="23" y="16"/>
                      </a:cubicBezTo>
                      <a:cubicBezTo>
                        <a:pt x="10" y="0"/>
                        <a:pt x="10" y="0"/>
                        <a:pt x="10" y="0"/>
                      </a:cubicBezTo>
                      <a:cubicBezTo>
                        <a:pt x="4" y="5"/>
                        <a:pt x="0" y="12"/>
                        <a:pt x="0" y="21"/>
                      </a:cubicBezTo>
                      <a:cubicBezTo>
                        <a:pt x="0" y="21"/>
                        <a:pt x="0" y="21"/>
                        <a:pt x="0" y="21"/>
                      </a:cubicBezTo>
                      <a:cubicBezTo>
                        <a:pt x="0" y="50"/>
                        <a:pt x="0" y="50"/>
                        <a:pt x="0" y="50"/>
                      </a:cubicBezTo>
                      <a:cubicBezTo>
                        <a:pt x="53" y="50"/>
                        <a:pt x="53" y="50"/>
                        <a:pt x="53" y="50"/>
                      </a:cubicBezTo>
                      <a:cubicBezTo>
                        <a:pt x="53" y="21"/>
                        <a:pt x="53" y="21"/>
                        <a:pt x="53" y="21"/>
                      </a:cubicBezTo>
                      <a:close/>
                      <a:moveTo>
                        <a:pt x="47" y="27"/>
                      </a:moveTo>
                      <a:cubicBezTo>
                        <a:pt x="33" y="27"/>
                        <a:pt x="33" y="27"/>
                        <a:pt x="33" y="27"/>
                      </a:cubicBezTo>
                      <a:cubicBezTo>
                        <a:pt x="33" y="24"/>
                        <a:pt x="33" y="24"/>
                        <a:pt x="33" y="24"/>
                      </a:cubicBezTo>
                      <a:cubicBezTo>
                        <a:pt x="47" y="24"/>
                        <a:pt x="47" y="24"/>
                        <a:pt x="47" y="24"/>
                      </a:cubicBezTo>
                      <a:cubicBezTo>
                        <a:pt x="47" y="26"/>
                        <a:pt x="47" y="26"/>
                        <a:pt x="47" y="26"/>
                      </a:cubicBezTo>
                      <a:lnTo>
                        <a:pt x="47" y="27"/>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118" name="TextBox 117">
                <a:extLst>
                  <a:ext uri="{FF2B5EF4-FFF2-40B4-BE49-F238E27FC236}">
                    <a16:creationId xmlns:a16="http://schemas.microsoft.com/office/drawing/2014/main" id="{42752276-35F2-4455-B23C-6798F26C5A7A}"/>
                  </a:ext>
                </a:extLst>
              </p:cNvPr>
              <p:cNvSpPr txBox="1"/>
              <p:nvPr/>
            </p:nvSpPr>
            <p:spPr>
              <a:xfrm>
                <a:off x="612573" y="5806521"/>
                <a:ext cx="906971" cy="184666"/>
              </a:xfrm>
              <a:prstGeom prst="rect">
                <a:avLst/>
              </a:prstGeom>
              <a:noFill/>
            </p:spPr>
            <p:txBody>
              <a:bodyPr wrap="square" lIns="0" tIns="0" rIns="0" bIns="0" rtlCol="0">
                <a:spAutoFit/>
              </a:bodyPr>
              <a:lstStyle/>
              <a:p>
                <a:pPr algn="ctr"/>
                <a:r>
                  <a:rPr lang="en-US" sz="1200" b="1">
                    <a:solidFill>
                      <a:schemeClr val="tx2"/>
                    </a:solidFill>
                  </a:rPr>
                  <a:t>Governance</a:t>
                </a:r>
              </a:p>
            </p:txBody>
          </p:sp>
          <p:cxnSp>
            <p:nvCxnSpPr>
              <p:cNvPr id="147" name="Straight Arrow Connector 146">
                <a:extLst>
                  <a:ext uri="{FF2B5EF4-FFF2-40B4-BE49-F238E27FC236}">
                    <a16:creationId xmlns:a16="http://schemas.microsoft.com/office/drawing/2014/main" id="{0D416717-3121-4A3B-9438-B3E3297B2148}"/>
                  </a:ext>
                </a:extLst>
              </p:cNvPr>
              <p:cNvCxnSpPr>
                <a:cxnSpLocks/>
                <a:stCxn id="54" idx="1"/>
                <a:endCxn id="74" idx="2"/>
              </p:cNvCxnSpPr>
              <p:nvPr/>
            </p:nvCxnSpPr>
            <p:spPr>
              <a:xfrm flipV="1">
                <a:off x="3264326" y="4326438"/>
                <a:ext cx="859686" cy="3144"/>
              </a:xfrm>
              <a:prstGeom prst="straightConnector1">
                <a:avLst/>
              </a:prstGeom>
              <a:ln w="12700" cmpd="sng">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B8C55DC1-E75A-49E4-8B2D-210BEFBDC56D}"/>
                  </a:ext>
                </a:extLst>
              </p:cNvPr>
              <p:cNvCxnSpPr>
                <a:cxnSpLocks/>
              </p:cNvCxnSpPr>
              <p:nvPr/>
            </p:nvCxnSpPr>
            <p:spPr>
              <a:xfrm>
                <a:off x="1360044" y="5472853"/>
                <a:ext cx="450185" cy="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grpSp>
      <p:sp>
        <p:nvSpPr>
          <p:cNvPr id="126" name="TextBox 125">
            <a:extLst>
              <a:ext uri="{FF2B5EF4-FFF2-40B4-BE49-F238E27FC236}">
                <a16:creationId xmlns:a16="http://schemas.microsoft.com/office/drawing/2014/main" id="{069C4E0B-1A1F-45B3-A9F7-03B17BA99E1E}"/>
              </a:ext>
            </a:extLst>
          </p:cNvPr>
          <p:cNvSpPr txBox="1"/>
          <p:nvPr/>
        </p:nvSpPr>
        <p:spPr>
          <a:xfrm>
            <a:off x="8179029" y="1612686"/>
            <a:ext cx="2106346" cy="200055"/>
          </a:xfrm>
          <a:prstGeom prst="rect">
            <a:avLst/>
          </a:prstGeom>
          <a:noFill/>
        </p:spPr>
        <p:txBody>
          <a:bodyPr wrap="none" lIns="0" tIns="0" rIns="0" bIns="0" rtlCol="0">
            <a:spAutoFit/>
          </a:bodyPr>
          <a:lstStyle/>
          <a:p>
            <a:r>
              <a:rPr lang="en-US" sz="1300" b="1" dirty="0">
                <a:solidFill>
                  <a:schemeClr val="tx2"/>
                </a:solidFill>
              </a:rPr>
              <a:t>Data and EDIS Consumers</a:t>
            </a:r>
          </a:p>
        </p:txBody>
      </p:sp>
      <p:sp>
        <p:nvSpPr>
          <p:cNvPr id="128" name="Flowchart: Magnetic Disk 127">
            <a:extLst>
              <a:ext uri="{FF2B5EF4-FFF2-40B4-BE49-F238E27FC236}">
                <a16:creationId xmlns:a16="http://schemas.microsoft.com/office/drawing/2014/main" id="{54981313-1EBB-4ABE-B4E7-423DAC3E6964}"/>
              </a:ext>
            </a:extLst>
          </p:cNvPr>
          <p:cNvSpPr/>
          <p:nvPr/>
        </p:nvSpPr>
        <p:spPr bwMode="gray">
          <a:xfrm>
            <a:off x="9300132" y="2131304"/>
            <a:ext cx="1260107" cy="623994"/>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AHM ODS</a:t>
            </a:r>
          </a:p>
        </p:txBody>
      </p:sp>
      <p:sp>
        <p:nvSpPr>
          <p:cNvPr id="129" name="Rectangle: Rounded Corners 128">
            <a:extLst>
              <a:ext uri="{FF2B5EF4-FFF2-40B4-BE49-F238E27FC236}">
                <a16:creationId xmlns:a16="http://schemas.microsoft.com/office/drawing/2014/main" id="{6454F3A4-2FDF-41A1-AF0F-A01AD7939C5C}"/>
              </a:ext>
            </a:extLst>
          </p:cNvPr>
          <p:cNvSpPr/>
          <p:nvPr/>
        </p:nvSpPr>
        <p:spPr bwMode="gray">
          <a:xfrm>
            <a:off x="7311728" y="2200946"/>
            <a:ext cx="1188606" cy="470468"/>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AHDI ETL</a:t>
            </a:r>
          </a:p>
        </p:txBody>
      </p:sp>
      <p:sp>
        <p:nvSpPr>
          <p:cNvPr id="130" name="Rectangle: Rounded Corners 129">
            <a:extLst>
              <a:ext uri="{FF2B5EF4-FFF2-40B4-BE49-F238E27FC236}">
                <a16:creationId xmlns:a16="http://schemas.microsoft.com/office/drawing/2014/main" id="{DD1898C0-E91E-459C-9352-12D5855B2E1C}"/>
              </a:ext>
            </a:extLst>
          </p:cNvPr>
          <p:cNvSpPr/>
          <p:nvPr/>
        </p:nvSpPr>
        <p:spPr bwMode="gray">
          <a:xfrm>
            <a:off x="7311728" y="3156204"/>
            <a:ext cx="1188606" cy="470468"/>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EDW ETL</a:t>
            </a:r>
          </a:p>
        </p:txBody>
      </p:sp>
      <p:sp>
        <p:nvSpPr>
          <p:cNvPr id="131" name="Rectangle: Rounded Corners 130">
            <a:extLst>
              <a:ext uri="{FF2B5EF4-FFF2-40B4-BE49-F238E27FC236}">
                <a16:creationId xmlns:a16="http://schemas.microsoft.com/office/drawing/2014/main" id="{9824804E-F88D-4751-9CC5-D3BAED53C87E}"/>
              </a:ext>
            </a:extLst>
          </p:cNvPr>
          <p:cNvSpPr/>
          <p:nvPr/>
        </p:nvSpPr>
        <p:spPr bwMode="gray">
          <a:xfrm>
            <a:off x="7332048" y="5186515"/>
            <a:ext cx="1188606" cy="470468"/>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Ingest</a:t>
            </a:r>
          </a:p>
        </p:txBody>
      </p:sp>
      <p:cxnSp>
        <p:nvCxnSpPr>
          <p:cNvPr id="132" name="Straight Arrow Connector 131">
            <a:extLst>
              <a:ext uri="{FF2B5EF4-FFF2-40B4-BE49-F238E27FC236}">
                <a16:creationId xmlns:a16="http://schemas.microsoft.com/office/drawing/2014/main" id="{CC71F425-BA05-4B83-AA4D-B5F67922EE57}"/>
              </a:ext>
            </a:extLst>
          </p:cNvPr>
          <p:cNvCxnSpPr>
            <a:cxnSpLocks/>
            <a:stCxn id="129" idx="3"/>
            <a:endCxn id="128" idx="2"/>
          </p:cNvCxnSpPr>
          <p:nvPr/>
        </p:nvCxnSpPr>
        <p:spPr>
          <a:xfrm>
            <a:off x="8500334" y="2436180"/>
            <a:ext cx="799798" cy="712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33" name="Flowchart: Magnetic Disk 132">
            <a:extLst>
              <a:ext uri="{FF2B5EF4-FFF2-40B4-BE49-F238E27FC236}">
                <a16:creationId xmlns:a16="http://schemas.microsoft.com/office/drawing/2014/main" id="{654A3199-06BB-4A99-8119-983BF78C97B4}"/>
              </a:ext>
            </a:extLst>
          </p:cNvPr>
          <p:cNvSpPr/>
          <p:nvPr/>
        </p:nvSpPr>
        <p:spPr bwMode="gray">
          <a:xfrm>
            <a:off x="9319716" y="3085312"/>
            <a:ext cx="1260107" cy="623994"/>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EDW</a:t>
            </a:r>
          </a:p>
          <a:p>
            <a:pPr algn="ctr"/>
            <a:r>
              <a:rPr lang="en-US" sz="1200">
                <a:solidFill>
                  <a:schemeClr val="bg1"/>
                </a:solidFill>
              </a:rPr>
              <a:t>External</a:t>
            </a:r>
          </a:p>
        </p:txBody>
      </p:sp>
      <p:cxnSp>
        <p:nvCxnSpPr>
          <p:cNvPr id="134" name="Straight Arrow Connector 133">
            <a:extLst>
              <a:ext uri="{FF2B5EF4-FFF2-40B4-BE49-F238E27FC236}">
                <a16:creationId xmlns:a16="http://schemas.microsoft.com/office/drawing/2014/main" id="{07E15089-AF26-4A6E-9615-0941DEF26F1C}"/>
              </a:ext>
            </a:extLst>
          </p:cNvPr>
          <p:cNvCxnSpPr>
            <a:cxnSpLocks/>
            <a:stCxn id="130" idx="3"/>
            <a:endCxn id="133" idx="2"/>
          </p:cNvCxnSpPr>
          <p:nvPr/>
        </p:nvCxnSpPr>
        <p:spPr>
          <a:xfrm>
            <a:off x="8500334" y="3391438"/>
            <a:ext cx="819382" cy="587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35" name="Straight Arrow Connector 134">
            <a:extLst>
              <a:ext uri="{FF2B5EF4-FFF2-40B4-BE49-F238E27FC236}">
                <a16:creationId xmlns:a16="http://schemas.microsoft.com/office/drawing/2014/main" id="{2EEE144C-69C3-429E-AB01-EBDD8B1FFA9B}"/>
              </a:ext>
            </a:extLst>
          </p:cNvPr>
          <p:cNvCxnSpPr>
            <a:cxnSpLocks/>
            <a:stCxn id="131" idx="3"/>
          </p:cNvCxnSpPr>
          <p:nvPr/>
        </p:nvCxnSpPr>
        <p:spPr>
          <a:xfrm flipV="1">
            <a:off x="8520654" y="5418547"/>
            <a:ext cx="336402" cy="320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38" name="Rectangle 137">
            <a:extLst>
              <a:ext uri="{FF2B5EF4-FFF2-40B4-BE49-F238E27FC236}">
                <a16:creationId xmlns:a16="http://schemas.microsoft.com/office/drawing/2014/main" id="{3AC812D2-03D7-4DA2-8511-F64773F3658E}"/>
              </a:ext>
            </a:extLst>
          </p:cNvPr>
          <p:cNvSpPr/>
          <p:nvPr/>
        </p:nvSpPr>
        <p:spPr bwMode="gray">
          <a:xfrm>
            <a:off x="8857056" y="4846862"/>
            <a:ext cx="2786304" cy="104278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200" b="1">
              <a:solidFill>
                <a:schemeClr val="tx2"/>
              </a:solidFill>
            </a:endParaRPr>
          </a:p>
        </p:txBody>
      </p:sp>
      <p:sp>
        <p:nvSpPr>
          <p:cNvPr id="139" name="Flowchart: Magnetic Disk 138">
            <a:extLst>
              <a:ext uri="{FF2B5EF4-FFF2-40B4-BE49-F238E27FC236}">
                <a16:creationId xmlns:a16="http://schemas.microsoft.com/office/drawing/2014/main" id="{8D405F13-8A40-4F84-89A1-02CC1632AC83}"/>
              </a:ext>
            </a:extLst>
          </p:cNvPr>
          <p:cNvSpPr/>
          <p:nvPr/>
        </p:nvSpPr>
        <p:spPr bwMode="gray">
          <a:xfrm>
            <a:off x="9036151" y="5199086"/>
            <a:ext cx="1007828" cy="516763"/>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Raw</a:t>
            </a:r>
          </a:p>
          <a:p>
            <a:pPr algn="ctr"/>
            <a:r>
              <a:rPr lang="en-US" sz="1200">
                <a:solidFill>
                  <a:schemeClr val="bg1"/>
                </a:solidFill>
              </a:rPr>
              <a:t>Data</a:t>
            </a:r>
          </a:p>
        </p:txBody>
      </p:sp>
      <p:sp>
        <p:nvSpPr>
          <p:cNvPr id="140" name="Flowchart: Magnetic Disk 139">
            <a:extLst>
              <a:ext uri="{FF2B5EF4-FFF2-40B4-BE49-F238E27FC236}">
                <a16:creationId xmlns:a16="http://schemas.microsoft.com/office/drawing/2014/main" id="{A58AD8F8-B552-475F-83F4-746B11CF975C}"/>
              </a:ext>
            </a:extLst>
          </p:cNvPr>
          <p:cNvSpPr/>
          <p:nvPr/>
        </p:nvSpPr>
        <p:spPr bwMode="gray">
          <a:xfrm>
            <a:off x="10518449" y="5192296"/>
            <a:ext cx="1007828" cy="516763"/>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Conformed</a:t>
            </a:r>
          </a:p>
          <a:p>
            <a:pPr algn="ctr"/>
            <a:r>
              <a:rPr lang="en-US" sz="1200">
                <a:solidFill>
                  <a:schemeClr val="bg1"/>
                </a:solidFill>
              </a:rPr>
              <a:t>Data</a:t>
            </a:r>
          </a:p>
        </p:txBody>
      </p:sp>
      <p:sp>
        <p:nvSpPr>
          <p:cNvPr id="141" name="TextBox 140">
            <a:extLst>
              <a:ext uri="{FF2B5EF4-FFF2-40B4-BE49-F238E27FC236}">
                <a16:creationId xmlns:a16="http://schemas.microsoft.com/office/drawing/2014/main" id="{3231908A-63C5-4A92-8237-8F802B4963CA}"/>
              </a:ext>
            </a:extLst>
          </p:cNvPr>
          <p:cNvSpPr txBox="1"/>
          <p:nvPr/>
        </p:nvSpPr>
        <p:spPr>
          <a:xfrm>
            <a:off x="9784363" y="4902998"/>
            <a:ext cx="844783" cy="215444"/>
          </a:xfrm>
          <a:prstGeom prst="rect">
            <a:avLst/>
          </a:prstGeom>
          <a:noFill/>
        </p:spPr>
        <p:txBody>
          <a:bodyPr wrap="none" lIns="0" tIns="0" rIns="0" bIns="0" rtlCol="0">
            <a:spAutoFit/>
          </a:bodyPr>
          <a:lstStyle/>
          <a:p>
            <a:r>
              <a:rPr lang="en-US" sz="1400" b="1">
                <a:solidFill>
                  <a:schemeClr val="tx2"/>
                </a:solidFill>
              </a:rPr>
              <a:t>Data </a:t>
            </a:r>
            <a:r>
              <a:rPr lang="en-US" sz="1300" b="1">
                <a:solidFill>
                  <a:schemeClr val="tx2"/>
                </a:solidFill>
              </a:rPr>
              <a:t>Lake</a:t>
            </a:r>
          </a:p>
        </p:txBody>
      </p:sp>
      <p:sp>
        <p:nvSpPr>
          <p:cNvPr id="142" name="Freeform 95">
            <a:extLst>
              <a:ext uri="{FF2B5EF4-FFF2-40B4-BE49-F238E27FC236}">
                <a16:creationId xmlns:a16="http://schemas.microsoft.com/office/drawing/2014/main" id="{D2B0A936-F76E-4629-9A4D-F8AFAFFA73C1}"/>
              </a:ext>
            </a:extLst>
          </p:cNvPr>
          <p:cNvSpPr>
            <a:spLocks/>
          </p:cNvSpPr>
          <p:nvPr/>
        </p:nvSpPr>
        <p:spPr bwMode="auto">
          <a:xfrm>
            <a:off x="7432703" y="4140403"/>
            <a:ext cx="261141" cy="190445"/>
          </a:xfrm>
          <a:custGeom>
            <a:avLst/>
            <a:gdLst>
              <a:gd name="T0" fmla="*/ 37 w 52"/>
              <a:gd name="T1" fmla="*/ 0 h 38"/>
              <a:gd name="T2" fmla="*/ 0 w 52"/>
              <a:gd name="T3" fmla="*/ 22 h 38"/>
              <a:gd name="T4" fmla="*/ 25 w 52"/>
              <a:gd name="T5" fmla="*/ 38 h 38"/>
              <a:gd name="T6" fmla="*/ 52 w 52"/>
              <a:gd name="T7" fmla="*/ 11 h 38"/>
              <a:gd name="T8" fmla="*/ 51 w 52"/>
              <a:gd name="T9" fmla="*/ 10 h 38"/>
              <a:gd name="T10" fmla="*/ 37 w 52"/>
              <a:gd name="T11" fmla="*/ 0 h 38"/>
            </a:gdLst>
            <a:ahLst/>
            <a:cxnLst>
              <a:cxn ang="0">
                <a:pos x="T0" y="T1"/>
              </a:cxn>
              <a:cxn ang="0">
                <a:pos x="T2" y="T3"/>
              </a:cxn>
              <a:cxn ang="0">
                <a:pos x="T4" y="T5"/>
              </a:cxn>
              <a:cxn ang="0">
                <a:pos x="T6" y="T7"/>
              </a:cxn>
              <a:cxn ang="0">
                <a:pos x="T8" y="T9"/>
              </a:cxn>
              <a:cxn ang="0">
                <a:pos x="T10" y="T11"/>
              </a:cxn>
            </a:cxnLst>
            <a:rect l="0" t="0" r="r" b="b"/>
            <a:pathLst>
              <a:path w="52" h="38">
                <a:moveTo>
                  <a:pt x="37" y="0"/>
                </a:moveTo>
                <a:cubicBezTo>
                  <a:pt x="26" y="9"/>
                  <a:pt x="14" y="17"/>
                  <a:pt x="0" y="22"/>
                </a:cubicBezTo>
                <a:cubicBezTo>
                  <a:pt x="4" y="31"/>
                  <a:pt x="14" y="38"/>
                  <a:pt x="25" y="38"/>
                </a:cubicBezTo>
                <a:cubicBezTo>
                  <a:pt x="40" y="38"/>
                  <a:pt x="52" y="26"/>
                  <a:pt x="52" y="11"/>
                </a:cubicBezTo>
                <a:cubicBezTo>
                  <a:pt x="52" y="11"/>
                  <a:pt x="51" y="11"/>
                  <a:pt x="51" y="10"/>
                </a:cubicBezTo>
                <a:cubicBezTo>
                  <a:pt x="46" y="8"/>
                  <a:pt x="42" y="4"/>
                  <a:pt x="3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43" name="Freeform 97">
            <a:extLst>
              <a:ext uri="{FF2B5EF4-FFF2-40B4-BE49-F238E27FC236}">
                <a16:creationId xmlns:a16="http://schemas.microsoft.com/office/drawing/2014/main" id="{B1560042-AEDC-4B61-BDCE-44F7DDB3A4B3}"/>
              </a:ext>
            </a:extLst>
          </p:cNvPr>
          <p:cNvSpPr>
            <a:spLocks noEditPoints="1"/>
          </p:cNvSpPr>
          <p:nvPr/>
        </p:nvSpPr>
        <p:spPr bwMode="auto">
          <a:xfrm>
            <a:off x="7422604" y="4359703"/>
            <a:ext cx="271240" cy="251041"/>
          </a:xfrm>
          <a:custGeom>
            <a:avLst/>
            <a:gdLst>
              <a:gd name="T0" fmla="*/ 54 w 54"/>
              <a:gd name="T1" fmla="*/ 21 h 50"/>
              <a:gd name="T2" fmla="*/ 43 w 54"/>
              <a:gd name="T3" fmla="*/ 0 h 50"/>
              <a:gd name="T4" fmla="*/ 30 w 54"/>
              <a:gd name="T5" fmla="*/ 16 h 50"/>
              <a:gd name="T6" fmla="*/ 30 w 54"/>
              <a:gd name="T7" fmla="*/ 9 h 50"/>
              <a:gd name="T8" fmla="*/ 28 w 54"/>
              <a:gd name="T9" fmla="*/ 9 h 50"/>
              <a:gd name="T10" fmla="*/ 26 w 54"/>
              <a:gd name="T11" fmla="*/ 9 h 50"/>
              <a:gd name="T12" fmla="*/ 24 w 54"/>
              <a:gd name="T13" fmla="*/ 9 h 50"/>
              <a:gd name="T14" fmla="*/ 24 w 54"/>
              <a:gd name="T15" fmla="*/ 16 h 50"/>
              <a:gd name="T16" fmla="*/ 10 w 54"/>
              <a:gd name="T17" fmla="*/ 0 h 50"/>
              <a:gd name="T18" fmla="*/ 0 w 54"/>
              <a:gd name="T19" fmla="*/ 21 h 50"/>
              <a:gd name="T20" fmla="*/ 0 w 54"/>
              <a:gd name="T21" fmla="*/ 21 h 50"/>
              <a:gd name="T22" fmla="*/ 0 w 54"/>
              <a:gd name="T23" fmla="*/ 50 h 50"/>
              <a:gd name="T24" fmla="*/ 54 w 54"/>
              <a:gd name="T25" fmla="*/ 50 h 50"/>
              <a:gd name="T26" fmla="*/ 54 w 54"/>
              <a:gd name="T27" fmla="*/ 21 h 50"/>
              <a:gd name="T28" fmla="*/ 47 w 54"/>
              <a:gd name="T29" fmla="*/ 27 h 50"/>
              <a:gd name="T30" fmla="*/ 34 w 54"/>
              <a:gd name="T31" fmla="*/ 27 h 50"/>
              <a:gd name="T32" fmla="*/ 34 w 54"/>
              <a:gd name="T33" fmla="*/ 24 h 50"/>
              <a:gd name="T34" fmla="*/ 47 w 54"/>
              <a:gd name="T35" fmla="*/ 24 h 50"/>
              <a:gd name="T36" fmla="*/ 47 w 54"/>
              <a:gd name="T37" fmla="*/ 26 h 50"/>
              <a:gd name="T38" fmla="*/ 47 w 54"/>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0">
                <a:moveTo>
                  <a:pt x="54" y="21"/>
                </a:moveTo>
                <a:cubicBezTo>
                  <a:pt x="53" y="12"/>
                  <a:pt x="50" y="5"/>
                  <a:pt x="43" y="0"/>
                </a:cubicBezTo>
                <a:cubicBezTo>
                  <a:pt x="30" y="16"/>
                  <a:pt x="30" y="16"/>
                  <a:pt x="30" y="16"/>
                </a:cubicBezTo>
                <a:cubicBezTo>
                  <a:pt x="30" y="9"/>
                  <a:pt x="30" y="9"/>
                  <a:pt x="30" y="9"/>
                </a:cubicBezTo>
                <a:cubicBezTo>
                  <a:pt x="29" y="9"/>
                  <a:pt x="29" y="9"/>
                  <a:pt x="28" y="9"/>
                </a:cubicBezTo>
                <a:cubicBezTo>
                  <a:pt x="26" y="9"/>
                  <a:pt x="26" y="9"/>
                  <a:pt x="26" y="9"/>
                </a:cubicBezTo>
                <a:cubicBezTo>
                  <a:pt x="25" y="9"/>
                  <a:pt x="25" y="9"/>
                  <a:pt x="24" y="9"/>
                </a:cubicBezTo>
                <a:cubicBezTo>
                  <a:pt x="24" y="16"/>
                  <a:pt x="24" y="16"/>
                  <a:pt x="24" y="16"/>
                </a:cubicBezTo>
                <a:cubicBezTo>
                  <a:pt x="10" y="0"/>
                  <a:pt x="10" y="0"/>
                  <a:pt x="10" y="0"/>
                </a:cubicBezTo>
                <a:cubicBezTo>
                  <a:pt x="4" y="5"/>
                  <a:pt x="0" y="12"/>
                  <a:pt x="0" y="21"/>
                </a:cubicBezTo>
                <a:cubicBezTo>
                  <a:pt x="0" y="21"/>
                  <a:pt x="0" y="21"/>
                  <a:pt x="0" y="21"/>
                </a:cubicBezTo>
                <a:cubicBezTo>
                  <a:pt x="0" y="50"/>
                  <a:pt x="0" y="50"/>
                  <a:pt x="0" y="50"/>
                </a:cubicBezTo>
                <a:cubicBezTo>
                  <a:pt x="54" y="50"/>
                  <a:pt x="54" y="50"/>
                  <a:pt x="54" y="50"/>
                </a:cubicBezTo>
                <a:cubicBezTo>
                  <a:pt x="54" y="21"/>
                  <a:pt x="54" y="21"/>
                  <a:pt x="54" y="21"/>
                </a:cubicBezTo>
                <a:close/>
                <a:moveTo>
                  <a:pt x="47" y="27"/>
                </a:moveTo>
                <a:cubicBezTo>
                  <a:pt x="34" y="27"/>
                  <a:pt x="34" y="27"/>
                  <a:pt x="34" y="27"/>
                </a:cubicBezTo>
                <a:cubicBezTo>
                  <a:pt x="34" y="24"/>
                  <a:pt x="34" y="24"/>
                  <a:pt x="34" y="24"/>
                </a:cubicBezTo>
                <a:cubicBezTo>
                  <a:pt x="47" y="24"/>
                  <a:pt x="47" y="24"/>
                  <a:pt x="47" y="24"/>
                </a:cubicBezTo>
                <a:cubicBezTo>
                  <a:pt x="47" y="26"/>
                  <a:pt x="47" y="26"/>
                  <a:pt x="47" y="26"/>
                </a:cubicBezTo>
                <a:lnTo>
                  <a:pt x="47" y="2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44" name="TextBox 143">
            <a:extLst>
              <a:ext uri="{FF2B5EF4-FFF2-40B4-BE49-F238E27FC236}">
                <a16:creationId xmlns:a16="http://schemas.microsoft.com/office/drawing/2014/main" id="{628851C3-29FF-4AEB-84AD-5A7BF1B355EA}"/>
              </a:ext>
            </a:extLst>
          </p:cNvPr>
          <p:cNvSpPr txBox="1"/>
          <p:nvPr/>
        </p:nvSpPr>
        <p:spPr>
          <a:xfrm>
            <a:off x="7779554" y="4160609"/>
            <a:ext cx="1141338" cy="369332"/>
          </a:xfrm>
          <a:prstGeom prst="rect">
            <a:avLst/>
          </a:prstGeom>
          <a:noFill/>
        </p:spPr>
        <p:txBody>
          <a:bodyPr wrap="none" lIns="0" tIns="0" rIns="0" bIns="0" rtlCol="0">
            <a:spAutoFit/>
          </a:bodyPr>
          <a:lstStyle/>
          <a:p>
            <a:pPr algn="ctr"/>
            <a:r>
              <a:rPr lang="en-US" sz="1200">
                <a:solidFill>
                  <a:schemeClr val="tx2"/>
                </a:solidFill>
              </a:rPr>
              <a:t>Other Medicaid,</a:t>
            </a:r>
          </a:p>
          <a:p>
            <a:pPr algn="ctr"/>
            <a:r>
              <a:rPr lang="en-US" sz="1200">
                <a:solidFill>
                  <a:schemeClr val="tx2"/>
                </a:solidFill>
              </a:rPr>
              <a:t>GIC</a:t>
            </a:r>
          </a:p>
        </p:txBody>
      </p:sp>
      <p:sp>
        <p:nvSpPr>
          <p:cNvPr id="145" name="Freeform 96">
            <a:extLst>
              <a:ext uri="{FF2B5EF4-FFF2-40B4-BE49-F238E27FC236}">
                <a16:creationId xmlns:a16="http://schemas.microsoft.com/office/drawing/2014/main" id="{7D090A6A-19EC-4804-92DA-9F995A268B21}"/>
              </a:ext>
            </a:extLst>
          </p:cNvPr>
          <p:cNvSpPr>
            <a:spLocks/>
          </p:cNvSpPr>
          <p:nvPr/>
        </p:nvSpPr>
        <p:spPr bwMode="auto">
          <a:xfrm>
            <a:off x="7422604" y="4065379"/>
            <a:ext cx="265469" cy="160147"/>
          </a:xfrm>
          <a:custGeom>
            <a:avLst/>
            <a:gdLst>
              <a:gd name="T0" fmla="*/ 46 w 53"/>
              <a:gd name="T1" fmla="*/ 8 h 32"/>
              <a:gd name="T2" fmla="*/ 44 w 53"/>
              <a:gd name="T3" fmla="*/ 6 h 32"/>
              <a:gd name="T4" fmla="*/ 31 w 53"/>
              <a:gd name="T5" fmla="*/ 0 h 32"/>
              <a:gd name="T6" fmla="*/ 28 w 53"/>
              <a:gd name="T7" fmla="*/ 0 h 32"/>
              <a:gd name="T8" fmla="*/ 27 w 53"/>
              <a:gd name="T9" fmla="*/ 0 h 32"/>
              <a:gd name="T10" fmla="*/ 0 w 53"/>
              <a:gd name="T11" fmla="*/ 26 h 32"/>
              <a:gd name="T12" fmla="*/ 1 w 53"/>
              <a:gd name="T13" fmla="*/ 32 h 32"/>
              <a:gd name="T14" fmla="*/ 39 w 53"/>
              <a:gd name="T15" fmla="*/ 10 h 32"/>
              <a:gd name="T16" fmla="*/ 53 w 53"/>
              <a:gd name="T17" fmla="*/ 22 h 32"/>
              <a:gd name="T18" fmla="*/ 46 w 53"/>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32">
                <a:moveTo>
                  <a:pt x="46" y="8"/>
                </a:moveTo>
                <a:cubicBezTo>
                  <a:pt x="45" y="7"/>
                  <a:pt x="45" y="6"/>
                  <a:pt x="44" y="6"/>
                </a:cubicBezTo>
                <a:cubicBezTo>
                  <a:pt x="40" y="3"/>
                  <a:pt x="36" y="1"/>
                  <a:pt x="31" y="0"/>
                </a:cubicBezTo>
                <a:cubicBezTo>
                  <a:pt x="30" y="0"/>
                  <a:pt x="29" y="0"/>
                  <a:pt x="28" y="0"/>
                </a:cubicBezTo>
                <a:cubicBezTo>
                  <a:pt x="28" y="0"/>
                  <a:pt x="27" y="0"/>
                  <a:pt x="27" y="0"/>
                </a:cubicBezTo>
                <a:cubicBezTo>
                  <a:pt x="12" y="0"/>
                  <a:pt x="0" y="12"/>
                  <a:pt x="0" y="26"/>
                </a:cubicBezTo>
                <a:cubicBezTo>
                  <a:pt x="0" y="28"/>
                  <a:pt x="0" y="30"/>
                  <a:pt x="1" y="32"/>
                </a:cubicBezTo>
                <a:cubicBezTo>
                  <a:pt x="23" y="26"/>
                  <a:pt x="38" y="11"/>
                  <a:pt x="39" y="10"/>
                </a:cubicBezTo>
                <a:cubicBezTo>
                  <a:pt x="39" y="11"/>
                  <a:pt x="48" y="21"/>
                  <a:pt x="53" y="22"/>
                </a:cubicBezTo>
                <a:cubicBezTo>
                  <a:pt x="52" y="17"/>
                  <a:pt x="50" y="12"/>
                  <a:pt x="46"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cxnSp>
        <p:nvCxnSpPr>
          <p:cNvPr id="148" name="Straight Arrow Connector 147">
            <a:extLst>
              <a:ext uri="{FF2B5EF4-FFF2-40B4-BE49-F238E27FC236}">
                <a16:creationId xmlns:a16="http://schemas.microsoft.com/office/drawing/2014/main" id="{B0B475CE-819E-426B-AB1A-E037E9AE5C73}"/>
              </a:ext>
            </a:extLst>
          </p:cNvPr>
          <p:cNvCxnSpPr>
            <a:cxnSpLocks/>
            <a:stCxn id="6" idx="3"/>
          </p:cNvCxnSpPr>
          <p:nvPr/>
        </p:nvCxnSpPr>
        <p:spPr>
          <a:xfrm flipV="1">
            <a:off x="5595990" y="1987137"/>
            <a:ext cx="1211456" cy="77448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49" name="Straight Arrow Connector 148">
            <a:extLst>
              <a:ext uri="{FF2B5EF4-FFF2-40B4-BE49-F238E27FC236}">
                <a16:creationId xmlns:a16="http://schemas.microsoft.com/office/drawing/2014/main" id="{E9690DFE-1150-4C27-8775-F8344363AE9F}"/>
              </a:ext>
            </a:extLst>
          </p:cNvPr>
          <p:cNvCxnSpPr>
            <a:cxnSpLocks/>
            <a:stCxn id="6" idx="3"/>
          </p:cNvCxnSpPr>
          <p:nvPr/>
        </p:nvCxnSpPr>
        <p:spPr>
          <a:xfrm flipV="1">
            <a:off x="5595990" y="2581433"/>
            <a:ext cx="1223454" cy="18018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0" name="Straight Arrow Connector 149">
            <a:extLst>
              <a:ext uri="{FF2B5EF4-FFF2-40B4-BE49-F238E27FC236}">
                <a16:creationId xmlns:a16="http://schemas.microsoft.com/office/drawing/2014/main" id="{D9BBAC7A-AF9F-4222-B145-6770CC93AD49}"/>
              </a:ext>
            </a:extLst>
          </p:cNvPr>
          <p:cNvCxnSpPr>
            <a:cxnSpLocks/>
            <a:stCxn id="6" idx="3"/>
          </p:cNvCxnSpPr>
          <p:nvPr/>
        </p:nvCxnSpPr>
        <p:spPr>
          <a:xfrm>
            <a:off x="5595990" y="2761619"/>
            <a:ext cx="1213084" cy="93255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1" name="Straight Arrow Connector 150">
            <a:extLst>
              <a:ext uri="{FF2B5EF4-FFF2-40B4-BE49-F238E27FC236}">
                <a16:creationId xmlns:a16="http://schemas.microsoft.com/office/drawing/2014/main" id="{8FBD3D58-CFFE-485A-B97C-ABA0D8E93C81}"/>
              </a:ext>
            </a:extLst>
          </p:cNvPr>
          <p:cNvCxnSpPr>
            <a:cxnSpLocks/>
            <a:stCxn id="6" idx="3"/>
          </p:cNvCxnSpPr>
          <p:nvPr/>
        </p:nvCxnSpPr>
        <p:spPr>
          <a:xfrm>
            <a:off x="5595990" y="2761619"/>
            <a:ext cx="1223454" cy="34662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2" name="Straight Arrow Connector 151">
            <a:extLst>
              <a:ext uri="{FF2B5EF4-FFF2-40B4-BE49-F238E27FC236}">
                <a16:creationId xmlns:a16="http://schemas.microsoft.com/office/drawing/2014/main" id="{514BFF4E-22EB-4C36-B1DB-70558BF1F690}"/>
              </a:ext>
            </a:extLst>
          </p:cNvPr>
          <p:cNvCxnSpPr>
            <a:cxnSpLocks/>
            <a:stCxn id="58" idx="3"/>
          </p:cNvCxnSpPr>
          <p:nvPr/>
        </p:nvCxnSpPr>
        <p:spPr>
          <a:xfrm flipV="1">
            <a:off x="4663512" y="4868425"/>
            <a:ext cx="2143934" cy="733638"/>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3" name="Straight Arrow Connector 152">
            <a:extLst>
              <a:ext uri="{FF2B5EF4-FFF2-40B4-BE49-F238E27FC236}">
                <a16:creationId xmlns:a16="http://schemas.microsoft.com/office/drawing/2014/main" id="{BE8D0180-3C9F-43DE-A735-6E9681C3D968}"/>
              </a:ext>
            </a:extLst>
          </p:cNvPr>
          <p:cNvCxnSpPr>
            <a:cxnSpLocks/>
            <a:stCxn id="58" idx="3"/>
          </p:cNvCxnSpPr>
          <p:nvPr/>
        </p:nvCxnSpPr>
        <p:spPr>
          <a:xfrm flipV="1">
            <a:off x="4663512" y="5290629"/>
            <a:ext cx="2155932" cy="31143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5" name="Straight Arrow Connector 154">
            <a:extLst>
              <a:ext uri="{FF2B5EF4-FFF2-40B4-BE49-F238E27FC236}">
                <a16:creationId xmlns:a16="http://schemas.microsoft.com/office/drawing/2014/main" id="{F8015480-B5E2-46CE-9A74-EA3DEC2E5210}"/>
              </a:ext>
            </a:extLst>
          </p:cNvPr>
          <p:cNvCxnSpPr>
            <a:cxnSpLocks/>
            <a:stCxn id="58" idx="3"/>
          </p:cNvCxnSpPr>
          <p:nvPr/>
        </p:nvCxnSpPr>
        <p:spPr>
          <a:xfrm>
            <a:off x="4663512" y="5602063"/>
            <a:ext cx="2155932" cy="440008"/>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6" name="Straight Arrow Connector 155">
            <a:extLst>
              <a:ext uri="{FF2B5EF4-FFF2-40B4-BE49-F238E27FC236}">
                <a16:creationId xmlns:a16="http://schemas.microsoft.com/office/drawing/2014/main" id="{EB8C3AAD-81D1-4DC9-AA5D-303F9E84CDBF}"/>
              </a:ext>
            </a:extLst>
          </p:cNvPr>
          <p:cNvCxnSpPr>
            <a:cxnSpLocks/>
            <a:stCxn id="58" idx="3"/>
          </p:cNvCxnSpPr>
          <p:nvPr/>
        </p:nvCxnSpPr>
        <p:spPr>
          <a:xfrm>
            <a:off x="4663512" y="5602063"/>
            <a:ext cx="2155932" cy="8952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508018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ea typeface="Helvetica Neue" panose="02000503000000020004" pitchFamily="2" charset="0"/>
                <a:cs typeface="Arial" panose="020B0604020202020204" pitchFamily="34" charset="0"/>
              </a:rPr>
              <a:t>Why is it important to CVS Health?</a:t>
            </a:r>
            <a:endParaRPr lang="en-US">
              <a:cs typeface="Arial" panose="020B0604020202020204" pitchFamily="34" charset="0"/>
            </a:endParaRPr>
          </a:p>
        </p:txBody>
      </p:sp>
      <p:sp>
        <p:nvSpPr>
          <p:cNvPr id="30" name="Text Placeholder 2">
            <a:extLst>
              <a:ext uri="{FF2B5EF4-FFF2-40B4-BE49-F238E27FC236}">
                <a16:creationId xmlns:a16="http://schemas.microsoft.com/office/drawing/2014/main" id="{39C286EB-B4EB-407E-9E61-97D02F492D65}"/>
              </a:ext>
            </a:extLst>
          </p:cNvPr>
          <p:cNvSpPr>
            <a:spLocks noGrp="1"/>
          </p:cNvSpPr>
          <p:nvPr>
            <p:ph type="body" sz="quarter" idx="4294967295"/>
          </p:nvPr>
        </p:nvSpPr>
        <p:spPr>
          <a:xfrm>
            <a:off x="559372" y="679475"/>
            <a:ext cx="9685338" cy="422275"/>
          </a:xfrm>
        </p:spPr>
        <p:txBody>
          <a:bodyPr/>
          <a:lstStyle/>
          <a:p>
            <a:pPr fontAlgn="base"/>
            <a:r>
              <a:rPr lang="en-US" dirty="0"/>
              <a:t>The External Data Registry is an important enabler and enhancer of CVS Health’s Data Platform strategy</a:t>
            </a:r>
          </a:p>
        </p:txBody>
      </p:sp>
      <p:sp>
        <p:nvSpPr>
          <p:cNvPr id="4" name="Title 1">
            <a:extLst>
              <a:ext uri="{FF2B5EF4-FFF2-40B4-BE49-F238E27FC236}">
                <a16:creationId xmlns:a16="http://schemas.microsoft.com/office/drawing/2014/main" id="{19295157-1AFA-984A-8ED1-5DE6D1BAEBE9}"/>
              </a:ext>
            </a:extLst>
          </p:cNvPr>
          <p:cNvSpPr txBox="1">
            <a:spLocks/>
          </p:cNvSpPr>
          <p:nvPr/>
        </p:nvSpPr>
        <p:spPr>
          <a:xfrm>
            <a:off x="1259587" y="1749401"/>
            <a:ext cx="4196974" cy="292868"/>
          </a:xfrm>
          <a:prstGeom prst="rect">
            <a:avLst/>
          </a:prstGeom>
        </p:spPr>
        <p:txBody>
          <a:bodyPr vert="horz" lIns="0" tIns="0" rIns="68562" bIns="0" rtlCol="0" anchor="t" anchorCtr="0">
            <a:noAutofit/>
          </a:bodyPr>
          <a:lstStyle>
            <a:lvl1pPr algn="l" defTabSz="457200" rtl="0" eaLnBrk="1" latinLnBrk="0" hangingPunct="1">
              <a:lnSpc>
                <a:spcPct val="90000"/>
              </a:lnSpc>
              <a:spcBef>
                <a:spcPct val="0"/>
              </a:spcBef>
              <a:buNone/>
              <a:defRPr sz="2600" b="1" kern="1200">
                <a:solidFill>
                  <a:schemeClr val="tx1"/>
                </a:solidFill>
                <a:latin typeface="+mj-lt"/>
                <a:ea typeface="+mj-ea"/>
                <a:cs typeface="+mj-cs"/>
              </a:defRPr>
            </a:lvl1pPr>
          </a:lstStyle>
          <a:p>
            <a:pPr algn="ctr" defTabSz="457052">
              <a:defRPr/>
            </a:pPr>
            <a:r>
              <a:rPr lang="en-US" sz="1949">
                <a:solidFill>
                  <a:prstClr val="black"/>
                </a:solidFill>
                <a:latin typeface="+mn-lt"/>
                <a:ea typeface="Helvetica Neue" panose="02000503000000020004" pitchFamily="2" charset="0"/>
                <a:cs typeface="Arial" panose="020B0604020202020204" pitchFamily="34" charset="0"/>
                <a:sym typeface="Helvetica Light"/>
              </a:rPr>
              <a:t>Our Strategic Imperatives</a:t>
            </a:r>
          </a:p>
        </p:txBody>
      </p:sp>
      <p:sp>
        <p:nvSpPr>
          <p:cNvPr id="5" name="TextBox 4">
            <a:extLst>
              <a:ext uri="{FF2B5EF4-FFF2-40B4-BE49-F238E27FC236}">
                <a16:creationId xmlns:a16="http://schemas.microsoft.com/office/drawing/2014/main" id="{5FDE9217-A6C0-944B-A259-24A06FEF5407}"/>
              </a:ext>
            </a:extLst>
          </p:cNvPr>
          <p:cNvSpPr txBox="1"/>
          <p:nvPr/>
        </p:nvSpPr>
        <p:spPr>
          <a:xfrm>
            <a:off x="1248580" y="2036068"/>
            <a:ext cx="4196974" cy="246157"/>
          </a:xfrm>
          <a:prstGeom prst="rect">
            <a:avLst/>
          </a:prstGeom>
          <a:noFill/>
        </p:spPr>
        <p:txBody>
          <a:bodyPr wrap="square" lIns="0" tIns="0" rIns="0" bIns="0" rtlCol="0">
            <a:spAutoFit/>
          </a:bodyPr>
          <a:lstStyle/>
          <a:p>
            <a:pPr algn="ctr" defTabSz="457052">
              <a:defRPr/>
            </a:pPr>
            <a:r>
              <a:rPr lang="en-US" sz="1600" b="1">
                <a:solidFill>
                  <a:srgbClr val="CC0000"/>
                </a:solidFill>
                <a:cs typeface="Arial" panose="020B0604020202020204" pitchFamily="34" charset="0"/>
                <a:sym typeface="Helvetica Light"/>
              </a:rPr>
              <a:t>Start with the </a:t>
            </a:r>
            <a:r>
              <a:rPr lang="en-US" sz="1600" b="1">
                <a:cs typeface="Arial" panose="020B0604020202020204" pitchFamily="34" charset="0"/>
                <a:sym typeface="Helvetica Light"/>
              </a:rPr>
              <a:t>consumer</a:t>
            </a:r>
            <a:r>
              <a:rPr lang="en-US" sz="1600" b="1">
                <a:solidFill>
                  <a:srgbClr val="CC0000"/>
                </a:solidFill>
                <a:cs typeface="Arial" panose="020B0604020202020204" pitchFamily="34" charset="0"/>
                <a:sym typeface="Helvetica Light"/>
              </a:rPr>
              <a:t> …</a:t>
            </a:r>
          </a:p>
        </p:txBody>
      </p:sp>
      <p:cxnSp>
        <p:nvCxnSpPr>
          <p:cNvPr id="7" name="Straight Connector 6">
            <a:extLst>
              <a:ext uri="{FF2B5EF4-FFF2-40B4-BE49-F238E27FC236}">
                <a16:creationId xmlns:a16="http://schemas.microsoft.com/office/drawing/2014/main" id="{448F8278-0281-0B4A-B31D-2F9579743FCD}"/>
              </a:ext>
            </a:extLst>
          </p:cNvPr>
          <p:cNvCxnSpPr>
            <a:cxnSpLocks/>
          </p:cNvCxnSpPr>
          <p:nvPr/>
        </p:nvCxnSpPr>
        <p:spPr bwMode="gray">
          <a:xfrm>
            <a:off x="486281" y="2335687"/>
            <a:ext cx="5629500" cy="0"/>
          </a:xfrm>
          <a:prstGeom prst="line">
            <a:avLst/>
          </a:prstGeom>
          <a:ln w="28575" cmpd="sng">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1369E8F2-760A-E14C-A794-DB2608FAF8A1}"/>
              </a:ext>
            </a:extLst>
          </p:cNvPr>
          <p:cNvSpPr txBox="1"/>
          <p:nvPr/>
        </p:nvSpPr>
        <p:spPr>
          <a:xfrm>
            <a:off x="6485789" y="2037171"/>
            <a:ext cx="5034060" cy="246157"/>
          </a:xfrm>
          <a:prstGeom prst="rect">
            <a:avLst/>
          </a:prstGeom>
          <a:noFill/>
        </p:spPr>
        <p:txBody>
          <a:bodyPr wrap="square" lIns="0" tIns="0" rIns="0" bIns="0" rtlCol="0">
            <a:spAutoFit/>
          </a:bodyPr>
          <a:lstStyle/>
          <a:p>
            <a:pPr algn="ctr" defTabSz="457052">
              <a:defRPr/>
            </a:pPr>
            <a:r>
              <a:rPr lang="en-US" sz="1600" b="1">
                <a:solidFill>
                  <a:srgbClr val="CC0000"/>
                </a:solidFill>
                <a:cs typeface="Arial" panose="020B0604020202020204" pitchFamily="34" charset="0"/>
                <a:sym typeface="Helvetica Light"/>
              </a:rPr>
              <a:t>… to transform our business and industry.</a:t>
            </a:r>
          </a:p>
        </p:txBody>
      </p:sp>
      <p:cxnSp>
        <p:nvCxnSpPr>
          <p:cNvPr id="9" name="Straight Connector 8">
            <a:extLst>
              <a:ext uri="{FF2B5EF4-FFF2-40B4-BE49-F238E27FC236}">
                <a16:creationId xmlns:a16="http://schemas.microsoft.com/office/drawing/2014/main" id="{B865B19A-51DB-C943-963C-F4C0E2202868}"/>
              </a:ext>
            </a:extLst>
          </p:cNvPr>
          <p:cNvCxnSpPr>
            <a:cxnSpLocks/>
          </p:cNvCxnSpPr>
          <p:nvPr/>
        </p:nvCxnSpPr>
        <p:spPr bwMode="gray">
          <a:xfrm flipV="1">
            <a:off x="6188069" y="2314374"/>
            <a:ext cx="5629500" cy="23966"/>
          </a:xfrm>
          <a:prstGeom prst="line">
            <a:avLst/>
          </a:prstGeom>
          <a:ln w="28575" cmpd="sng">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C22A95C4-8061-354E-9A3D-D259261B08E9}"/>
              </a:ext>
            </a:extLst>
          </p:cNvPr>
          <p:cNvSpPr txBox="1"/>
          <p:nvPr/>
        </p:nvSpPr>
        <p:spPr>
          <a:xfrm>
            <a:off x="764397" y="3226626"/>
            <a:ext cx="1325503" cy="638470"/>
          </a:xfrm>
          <a:prstGeom prst="rect">
            <a:avLst/>
          </a:prstGeom>
          <a:noFill/>
        </p:spPr>
        <p:txBody>
          <a:bodyPr wrap="square" lIns="0" tIns="0" rIns="0" bIns="0" rtlCol="0">
            <a:spAutoFit/>
          </a:bodyPr>
          <a:lstStyle/>
          <a:p>
            <a:pPr algn="ctr" defTabSz="457052">
              <a:lnSpc>
                <a:spcPts val="1200"/>
              </a:lnSpc>
              <a:defRPr/>
            </a:pPr>
            <a:r>
              <a:rPr lang="en-US" sz="1400" b="1">
                <a:solidFill>
                  <a:prstClr val="black"/>
                </a:solidFill>
                <a:latin typeface="Arial" panose="020B0604020202020204" pitchFamily="34" charset="0"/>
                <a:cs typeface="Arial" panose="020B0604020202020204" pitchFamily="34" charset="0"/>
                <a:sym typeface="Helvetica Light"/>
              </a:rPr>
              <a:t>Be local</a:t>
            </a:r>
          </a:p>
          <a:p>
            <a:pPr algn="ctr" defTabSz="457052">
              <a:defRPr/>
            </a:pPr>
            <a:r>
              <a:rPr lang="en-US" sz="1050">
                <a:solidFill>
                  <a:prstClr val="black"/>
                </a:solidFill>
                <a:latin typeface="Arial" panose="020B0604020202020204" pitchFamily="34" charset="0"/>
                <a:cs typeface="Arial" panose="020B0604020202020204" pitchFamily="34" charset="0"/>
                <a:sym typeface="Helvetica Light"/>
              </a:rPr>
              <a:t>Engage people with </a:t>
            </a:r>
            <a:br>
              <a:rPr lang="en-US" sz="1050">
                <a:solidFill>
                  <a:prstClr val="black"/>
                </a:solidFill>
                <a:latin typeface="Arial" panose="020B0604020202020204" pitchFamily="34" charset="0"/>
                <a:cs typeface="Arial" panose="020B0604020202020204" pitchFamily="34" charset="0"/>
                <a:sym typeface="Helvetica Light"/>
              </a:rPr>
            </a:br>
            <a:r>
              <a:rPr lang="en-US" sz="1050">
                <a:solidFill>
                  <a:prstClr val="black"/>
                </a:solidFill>
                <a:latin typeface="Arial" panose="020B0604020202020204" pitchFamily="34" charset="0"/>
                <a:cs typeface="Arial" panose="020B0604020202020204" pitchFamily="34" charset="0"/>
                <a:sym typeface="Helvetica Light"/>
              </a:rPr>
              <a:t>the care they need </a:t>
            </a:r>
            <a:br>
              <a:rPr lang="en-US" sz="1050">
                <a:solidFill>
                  <a:prstClr val="black"/>
                </a:solidFill>
                <a:latin typeface="Arial" panose="020B0604020202020204" pitchFamily="34" charset="0"/>
                <a:cs typeface="Arial" panose="020B0604020202020204" pitchFamily="34" charset="0"/>
                <a:sym typeface="Helvetica Light"/>
              </a:rPr>
            </a:br>
            <a:r>
              <a:rPr lang="en-US" sz="1050">
                <a:solidFill>
                  <a:prstClr val="black"/>
                </a:solidFill>
                <a:latin typeface="Arial" panose="020B0604020202020204" pitchFamily="34" charset="0"/>
                <a:cs typeface="Arial" panose="020B0604020202020204" pitchFamily="34" charset="0"/>
                <a:sym typeface="Helvetica Light"/>
              </a:rPr>
              <a:t>where they need it</a:t>
            </a:r>
          </a:p>
        </p:txBody>
      </p:sp>
      <p:sp>
        <p:nvSpPr>
          <p:cNvPr id="11" name="TextBox 10">
            <a:extLst>
              <a:ext uri="{FF2B5EF4-FFF2-40B4-BE49-F238E27FC236}">
                <a16:creationId xmlns:a16="http://schemas.microsoft.com/office/drawing/2014/main" id="{A0306540-68B3-7F49-AE1B-8B6C61BDC16E}"/>
              </a:ext>
            </a:extLst>
          </p:cNvPr>
          <p:cNvSpPr txBox="1"/>
          <p:nvPr/>
        </p:nvSpPr>
        <p:spPr>
          <a:xfrm>
            <a:off x="4383697" y="3258259"/>
            <a:ext cx="1561719" cy="638470"/>
          </a:xfrm>
          <a:prstGeom prst="rect">
            <a:avLst/>
          </a:prstGeom>
          <a:noFill/>
        </p:spPr>
        <p:txBody>
          <a:bodyPr wrap="square" lIns="0" tIns="0" rIns="0" bIns="0" rtlCol="0">
            <a:spAutoFit/>
          </a:bodyPr>
          <a:lstStyle/>
          <a:p>
            <a:pPr algn="ctr" defTabSz="457052">
              <a:lnSpc>
                <a:spcPts val="1200"/>
              </a:lnSpc>
              <a:defRPr/>
            </a:pPr>
            <a:r>
              <a:rPr lang="en-US" sz="1400" b="1">
                <a:solidFill>
                  <a:prstClr val="black"/>
                </a:solidFill>
                <a:latin typeface="Arial" panose="020B0604020202020204" pitchFamily="34" charset="0"/>
                <a:cs typeface="Arial" panose="020B0604020202020204" pitchFamily="34" charset="0"/>
                <a:sym typeface="Helvetica Light"/>
              </a:rPr>
              <a:t>Improve health</a:t>
            </a:r>
          </a:p>
          <a:p>
            <a:pPr algn="ctr" defTabSz="457052">
              <a:defRPr/>
            </a:pPr>
            <a:r>
              <a:rPr lang="en-US" sz="1050">
                <a:solidFill>
                  <a:prstClr val="black"/>
                </a:solidFill>
                <a:latin typeface="Arial" panose="020B0604020202020204" pitchFamily="34" charset="0"/>
                <a:cs typeface="Arial" panose="020B0604020202020204" pitchFamily="34" charset="0"/>
                <a:sym typeface="Helvetica Light"/>
              </a:rPr>
              <a:t>Help people </a:t>
            </a:r>
            <a:br>
              <a:rPr lang="en-US" sz="1050">
                <a:solidFill>
                  <a:prstClr val="black"/>
                </a:solidFill>
                <a:latin typeface="Arial" panose="020B0604020202020204" pitchFamily="34" charset="0"/>
                <a:cs typeface="Arial" panose="020B0604020202020204" pitchFamily="34" charset="0"/>
                <a:sym typeface="Helvetica Light"/>
              </a:rPr>
            </a:br>
            <a:r>
              <a:rPr lang="en-US" sz="1050">
                <a:solidFill>
                  <a:prstClr val="black"/>
                </a:solidFill>
                <a:latin typeface="Arial" panose="020B0604020202020204" pitchFamily="34" charset="0"/>
                <a:cs typeface="Arial" panose="020B0604020202020204" pitchFamily="34" charset="0"/>
                <a:sym typeface="Helvetica Light"/>
              </a:rPr>
              <a:t>achieve better health </a:t>
            </a:r>
            <a:br>
              <a:rPr lang="en-US" sz="1050">
                <a:solidFill>
                  <a:prstClr val="black"/>
                </a:solidFill>
                <a:latin typeface="Arial" panose="020B0604020202020204" pitchFamily="34" charset="0"/>
                <a:cs typeface="Arial" panose="020B0604020202020204" pitchFamily="34" charset="0"/>
                <a:sym typeface="Helvetica Light"/>
              </a:rPr>
            </a:br>
            <a:r>
              <a:rPr lang="en-US" sz="1050">
                <a:solidFill>
                  <a:prstClr val="black"/>
                </a:solidFill>
                <a:latin typeface="Arial" panose="020B0604020202020204" pitchFamily="34" charset="0"/>
                <a:cs typeface="Arial" panose="020B0604020202020204" pitchFamily="34" charset="0"/>
                <a:sym typeface="Helvetica Light"/>
              </a:rPr>
              <a:t>at a lower cost</a:t>
            </a:r>
          </a:p>
        </p:txBody>
      </p:sp>
      <p:sp>
        <p:nvSpPr>
          <p:cNvPr id="12" name="TextBox 11">
            <a:extLst>
              <a:ext uri="{FF2B5EF4-FFF2-40B4-BE49-F238E27FC236}">
                <a16:creationId xmlns:a16="http://schemas.microsoft.com/office/drawing/2014/main" id="{3480F4EB-2C68-0949-B99B-CC68E46DC941}"/>
              </a:ext>
            </a:extLst>
          </p:cNvPr>
          <p:cNvSpPr txBox="1"/>
          <p:nvPr/>
        </p:nvSpPr>
        <p:spPr>
          <a:xfrm>
            <a:off x="2626374" y="3263637"/>
            <a:ext cx="1325503" cy="476930"/>
          </a:xfrm>
          <a:prstGeom prst="rect">
            <a:avLst/>
          </a:prstGeom>
          <a:noFill/>
        </p:spPr>
        <p:txBody>
          <a:bodyPr wrap="square" lIns="0" tIns="0" rIns="0" bIns="0" rtlCol="0">
            <a:spAutoFit/>
          </a:bodyPr>
          <a:lstStyle/>
          <a:p>
            <a:pPr algn="ctr" defTabSz="457052">
              <a:lnSpc>
                <a:spcPts val="1200"/>
              </a:lnSpc>
              <a:defRPr/>
            </a:pPr>
            <a:r>
              <a:rPr lang="en-US" sz="1400" b="1">
                <a:solidFill>
                  <a:srgbClr val="000000"/>
                </a:solidFill>
                <a:latin typeface="Arial" panose="020B0604020202020204" pitchFamily="34" charset="0"/>
                <a:cs typeface="Arial" panose="020B0604020202020204" pitchFamily="34" charset="0"/>
                <a:sym typeface="Helvetica Light"/>
              </a:rPr>
              <a:t>Make it simple</a:t>
            </a:r>
          </a:p>
          <a:p>
            <a:pPr algn="ctr" defTabSz="457052">
              <a:defRPr/>
            </a:pPr>
            <a:r>
              <a:rPr lang="en-US" sz="1050">
                <a:solidFill>
                  <a:prstClr val="black"/>
                </a:solidFill>
                <a:latin typeface="Arial" panose="020B0604020202020204" pitchFamily="34" charset="0"/>
                <a:cs typeface="Arial" panose="020B0604020202020204" pitchFamily="34" charset="0"/>
                <a:sym typeface="Helvetica Light"/>
              </a:rPr>
              <a:t>Make a complicated </a:t>
            </a:r>
            <a:br>
              <a:rPr lang="en-US" sz="1050">
                <a:solidFill>
                  <a:prstClr val="black"/>
                </a:solidFill>
                <a:latin typeface="Arial" panose="020B0604020202020204" pitchFamily="34" charset="0"/>
                <a:cs typeface="Arial" panose="020B0604020202020204" pitchFamily="34" charset="0"/>
                <a:sym typeface="Helvetica Light"/>
              </a:rPr>
            </a:br>
            <a:r>
              <a:rPr lang="en-US" sz="1050">
                <a:solidFill>
                  <a:prstClr val="black"/>
                </a:solidFill>
                <a:latin typeface="Arial" panose="020B0604020202020204" pitchFamily="34" charset="0"/>
                <a:cs typeface="Arial" panose="020B0604020202020204" pitchFamily="34" charset="0"/>
                <a:sym typeface="Helvetica Light"/>
              </a:rPr>
              <a:t>system easier for all</a:t>
            </a:r>
          </a:p>
        </p:txBody>
      </p:sp>
      <p:sp>
        <p:nvSpPr>
          <p:cNvPr id="13" name="Freeform 21">
            <a:extLst>
              <a:ext uri="{FF2B5EF4-FFF2-40B4-BE49-F238E27FC236}">
                <a16:creationId xmlns:a16="http://schemas.microsoft.com/office/drawing/2014/main" id="{FD1ED530-CAB8-EC42-84B4-E31A736F758C}"/>
              </a:ext>
            </a:extLst>
          </p:cNvPr>
          <p:cNvSpPr>
            <a:spLocks noChangeAspect="1" noEditPoints="1"/>
          </p:cNvSpPr>
          <p:nvPr/>
        </p:nvSpPr>
        <p:spPr bwMode="auto">
          <a:xfrm>
            <a:off x="1293922" y="2725588"/>
            <a:ext cx="266453" cy="389535"/>
          </a:xfrm>
          <a:custGeom>
            <a:avLst/>
            <a:gdLst>
              <a:gd name="T0" fmla="*/ 1760 w 3544"/>
              <a:gd name="T1" fmla="*/ 5186 h 5186"/>
              <a:gd name="T2" fmla="*/ 237 w 3544"/>
              <a:gd name="T3" fmla="*/ 2658 h 5186"/>
              <a:gd name="T4" fmla="*/ 0 w 3544"/>
              <a:gd name="T5" fmla="*/ 1772 h 5186"/>
              <a:gd name="T6" fmla="*/ 139 w 3544"/>
              <a:gd name="T7" fmla="*/ 1083 h 5186"/>
              <a:gd name="T8" fmla="*/ 519 w 3544"/>
              <a:gd name="T9" fmla="*/ 519 h 5186"/>
              <a:gd name="T10" fmla="*/ 1082 w 3544"/>
              <a:gd name="T11" fmla="*/ 139 h 5186"/>
              <a:gd name="T12" fmla="*/ 1772 w 3544"/>
              <a:gd name="T13" fmla="*/ 0 h 5186"/>
              <a:gd name="T14" fmla="*/ 2462 w 3544"/>
              <a:gd name="T15" fmla="*/ 139 h 5186"/>
              <a:gd name="T16" fmla="*/ 3025 w 3544"/>
              <a:gd name="T17" fmla="*/ 519 h 5186"/>
              <a:gd name="T18" fmla="*/ 3405 w 3544"/>
              <a:gd name="T19" fmla="*/ 1083 h 5186"/>
              <a:gd name="T20" fmla="*/ 3544 w 3544"/>
              <a:gd name="T21" fmla="*/ 1772 h 5186"/>
              <a:gd name="T22" fmla="*/ 3446 w 3544"/>
              <a:gd name="T23" fmla="*/ 2319 h 5186"/>
              <a:gd name="T24" fmla="*/ 3203 w 3544"/>
              <a:gd name="T25" fmla="*/ 2816 h 5186"/>
              <a:gd name="T26" fmla="*/ 3202 w 3544"/>
              <a:gd name="T27" fmla="*/ 2819 h 5186"/>
              <a:gd name="T28" fmla="*/ 1760 w 3544"/>
              <a:gd name="T29" fmla="*/ 5186 h 5186"/>
              <a:gd name="T30" fmla="*/ 431 w 3544"/>
              <a:gd name="T31" fmla="*/ 2544 h 5186"/>
              <a:gd name="T32" fmla="*/ 1761 w 3544"/>
              <a:gd name="T33" fmla="*/ 4752 h 5186"/>
              <a:gd name="T34" fmla="*/ 3009 w 3544"/>
              <a:gd name="T35" fmla="*/ 2703 h 5186"/>
              <a:gd name="T36" fmla="*/ 3319 w 3544"/>
              <a:gd name="T37" fmla="*/ 1772 h 5186"/>
              <a:gd name="T38" fmla="*/ 1772 w 3544"/>
              <a:gd name="T39" fmla="*/ 225 h 5186"/>
              <a:gd name="T40" fmla="*/ 225 w 3544"/>
              <a:gd name="T41" fmla="*/ 1772 h 5186"/>
              <a:gd name="T42" fmla="*/ 431 w 3544"/>
              <a:gd name="T43" fmla="*/ 2544 h 5186"/>
              <a:gd name="T44" fmla="*/ 1785 w 3544"/>
              <a:gd name="T45" fmla="*/ 2799 h 5186"/>
              <a:gd name="T46" fmla="*/ 872 w 3544"/>
              <a:gd name="T47" fmla="*/ 1884 h 5186"/>
              <a:gd name="T48" fmla="*/ 778 w 3544"/>
              <a:gd name="T49" fmla="*/ 1657 h 5186"/>
              <a:gd name="T50" fmla="*/ 872 w 3544"/>
              <a:gd name="T51" fmla="*/ 1430 h 5186"/>
              <a:gd name="T52" fmla="*/ 1167 w 3544"/>
              <a:gd name="T53" fmla="*/ 1135 h 5186"/>
              <a:gd name="T54" fmla="*/ 1394 w 3544"/>
              <a:gd name="T55" fmla="*/ 1041 h 5186"/>
              <a:gd name="T56" fmla="*/ 1622 w 3544"/>
              <a:gd name="T57" fmla="*/ 1135 h 5186"/>
              <a:gd name="T58" fmla="*/ 1785 w 3544"/>
              <a:gd name="T59" fmla="*/ 1298 h 5186"/>
              <a:gd name="T60" fmla="*/ 1948 w 3544"/>
              <a:gd name="T61" fmla="*/ 1135 h 5186"/>
              <a:gd name="T62" fmla="*/ 2175 w 3544"/>
              <a:gd name="T63" fmla="*/ 1041 h 5186"/>
              <a:gd name="T64" fmla="*/ 2403 w 3544"/>
              <a:gd name="T65" fmla="*/ 1135 h 5186"/>
              <a:gd name="T66" fmla="*/ 2698 w 3544"/>
              <a:gd name="T67" fmla="*/ 1430 h 5186"/>
              <a:gd name="T68" fmla="*/ 2698 w 3544"/>
              <a:gd name="T69" fmla="*/ 1884 h 5186"/>
              <a:gd name="T70" fmla="*/ 1785 w 3544"/>
              <a:gd name="T71" fmla="*/ 2799 h 5186"/>
              <a:gd name="T72" fmla="*/ 1394 w 3544"/>
              <a:gd name="T73" fmla="*/ 1266 h 5186"/>
              <a:gd name="T74" fmla="*/ 1326 w 3544"/>
              <a:gd name="T75" fmla="*/ 1294 h 5186"/>
              <a:gd name="T76" fmla="*/ 1031 w 3544"/>
              <a:gd name="T77" fmla="*/ 1589 h 5186"/>
              <a:gd name="T78" fmla="*/ 1003 w 3544"/>
              <a:gd name="T79" fmla="*/ 1657 h 5186"/>
              <a:gd name="T80" fmla="*/ 1031 w 3544"/>
              <a:gd name="T81" fmla="*/ 1725 h 5186"/>
              <a:gd name="T82" fmla="*/ 1785 w 3544"/>
              <a:gd name="T83" fmla="*/ 2480 h 5186"/>
              <a:gd name="T84" fmla="*/ 2539 w 3544"/>
              <a:gd name="T85" fmla="*/ 1725 h 5186"/>
              <a:gd name="T86" fmla="*/ 2539 w 3544"/>
              <a:gd name="T87" fmla="*/ 1589 h 5186"/>
              <a:gd name="T88" fmla="*/ 2243 w 3544"/>
              <a:gd name="T89" fmla="*/ 1294 h 5186"/>
              <a:gd name="T90" fmla="*/ 2175 w 3544"/>
              <a:gd name="T91" fmla="*/ 1266 h 5186"/>
              <a:gd name="T92" fmla="*/ 2107 w 3544"/>
              <a:gd name="T93" fmla="*/ 1294 h 5186"/>
              <a:gd name="T94" fmla="*/ 1785 w 3544"/>
              <a:gd name="T95" fmla="*/ 1616 h 5186"/>
              <a:gd name="T96" fmla="*/ 1462 w 3544"/>
              <a:gd name="T97" fmla="*/ 1294 h 5186"/>
              <a:gd name="T98" fmla="*/ 1394 w 3544"/>
              <a:gd name="T99" fmla="*/ 1266 h 5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44" h="5186">
                <a:moveTo>
                  <a:pt x="1760" y="5186"/>
                </a:moveTo>
                <a:cubicBezTo>
                  <a:pt x="237" y="2658"/>
                  <a:pt x="237" y="2658"/>
                  <a:pt x="237" y="2658"/>
                </a:cubicBezTo>
                <a:cubicBezTo>
                  <a:pt x="82" y="2390"/>
                  <a:pt x="0" y="2083"/>
                  <a:pt x="0" y="1772"/>
                </a:cubicBezTo>
                <a:cubicBezTo>
                  <a:pt x="0" y="1533"/>
                  <a:pt x="47" y="1301"/>
                  <a:pt x="139" y="1083"/>
                </a:cubicBezTo>
                <a:cubicBezTo>
                  <a:pt x="228" y="871"/>
                  <a:pt x="356" y="682"/>
                  <a:pt x="519" y="519"/>
                </a:cubicBezTo>
                <a:cubicBezTo>
                  <a:pt x="682" y="357"/>
                  <a:pt x="871" y="229"/>
                  <a:pt x="1082" y="139"/>
                </a:cubicBezTo>
                <a:cubicBezTo>
                  <a:pt x="1301" y="47"/>
                  <a:pt x="1533" y="0"/>
                  <a:pt x="1772" y="0"/>
                </a:cubicBezTo>
                <a:cubicBezTo>
                  <a:pt x="2011" y="0"/>
                  <a:pt x="2243" y="47"/>
                  <a:pt x="2462" y="139"/>
                </a:cubicBezTo>
                <a:cubicBezTo>
                  <a:pt x="2673" y="229"/>
                  <a:pt x="2862" y="357"/>
                  <a:pt x="3025" y="519"/>
                </a:cubicBezTo>
                <a:cubicBezTo>
                  <a:pt x="3188" y="682"/>
                  <a:pt x="3316" y="871"/>
                  <a:pt x="3405" y="1083"/>
                </a:cubicBezTo>
                <a:cubicBezTo>
                  <a:pt x="3497" y="1301"/>
                  <a:pt x="3544" y="1533"/>
                  <a:pt x="3544" y="1772"/>
                </a:cubicBezTo>
                <a:cubicBezTo>
                  <a:pt x="3544" y="1958"/>
                  <a:pt x="3512" y="2136"/>
                  <a:pt x="3446" y="2319"/>
                </a:cubicBezTo>
                <a:cubicBezTo>
                  <a:pt x="3381" y="2498"/>
                  <a:pt x="3291" y="2663"/>
                  <a:pt x="3203" y="2816"/>
                </a:cubicBezTo>
                <a:cubicBezTo>
                  <a:pt x="3202" y="2819"/>
                  <a:pt x="3202" y="2819"/>
                  <a:pt x="3202" y="2819"/>
                </a:cubicBezTo>
                <a:cubicBezTo>
                  <a:pt x="1760" y="5186"/>
                  <a:pt x="1760" y="5186"/>
                  <a:pt x="1760" y="5186"/>
                </a:cubicBezTo>
                <a:close/>
                <a:moveTo>
                  <a:pt x="431" y="2544"/>
                </a:moveTo>
                <a:cubicBezTo>
                  <a:pt x="1761" y="4752"/>
                  <a:pt x="1761" y="4752"/>
                  <a:pt x="1761" y="4752"/>
                </a:cubicBezTo>
                <a:cubicBezTo>
                  <a:pt x="3009" y="2703"/>
                  <a:pt x="3009" y="2703"/>
                  <a:pt x="3009" y="2703"/>
                </a:cubicBezTo>
                <a:cubicBezTo>
                  <a:pt x="3205" y="2361"/>
                  <a:pt x="3319" y="2099"/>
                  <a:pt x="3319" y="1772"/>
                </a:cubicBezTo>
                <a:cubicBezTo>
                  <a:pt x="3319" y="919"/>
                  <a:pt x="2625" y="225"/>
                  <a:pt x="1772" y="225"/>
                </a:cubicBezTo>
                <a:cubicBezTo>
                  <a:pt x="919" y="225"/>
                  <a:pt x="225" y="919"/>
                  <a:pt x="225" y="1772"/>
                </a:cubicBezTo>
                <a:cubicBezTo>
                  <a:pt x="225" y="2043"/>
                  <a:pt x="296" y="2310"/>
                  <a:pt x="431" y="2544"/>
                </a:cubicBezTo>
                <a:close/>
                <a:moveTo>
                  <a:pt x="1785" y="2799"/>
                </a:moveTo>
                <a:cubicBezTo>
                  <a:pt x="872" y="1884"/>
                  <a:pt x="872" y="1884"/>
                  <a:pt x="872" y="1884"/>
                </a:cubicBezTo>
                <a:cubicBezTo>
                  <a:pt x="811" y="1824"/>
                  <a:pt x="778" y="1743"/>
                  <a:pt x="778" y="1657"/>
                </a:cubicBezTo>
                <a:cubicBezTo>
                  <a:pt x="778" y="1571"/>
                  <a:pt x="811" y="1491"/>
                  <a:pt x="872" y="1430"/>
                </a:cubicBezTo>
                <a:cubicBezTo>
                  <a:pt x="1167" y="1135"/>
                  <a:pt x="1167" y="1135"/>
                  <a:pt x="1167" y="1135"/>
                </a:cubicBezTo>
                <a:cubicBezTo>
                  <a:pt x="1228" y="1074"/>
                  <a:pt x="1308" y="1041"/>
                  <a:pt x="1394" y="1041"/>
                </a:cubicBezTo>
                <a:cubicBezTo>
                  <a:pt x="1480" y="1041"/>
                  <a:pt x="1561" y="1074"/>
                  <a:pt x="1622" y="1135"/>
                </a:cubicBezTo>
                <a:cubicBezTo>
                  <a:pt x="1785" y="1298"/>
                  <a:pt x="1785" y="1298"/>
                  <a:pt x="1785" y="1298"/>
                </a:cubicBezTo>
                <a:cubicBezTo>
                  <a:pt x="1948" y="1135"/>
                  <a:pt x="1948" y="1135"/>
                  <a:pt x="1948" y="1135"/>
                </a:cubicBezTo>
                <a:cubicBezTo>
                  <a:pt x="2009" y="1074"/>
                  <a:pt x="2090" y="1041"/>
                  <a:pt x="2175" y="1041"/>
                </a:cubicBezTo>
                <a:cubicBezTo>
                  <a:pt x="2261" y="1041"/>
                  <a:pt x="2342" y="1074"/>
                  <a:pt x="2403" y="1135"/>
                </a:cubicBezTo>
                <a:cubicBezTo>
                  <a:pt x="2698" y="1430"/>
                  <a:pt x="2698" y="1430"/>
                  <a:pt x="2698" y="1430"/>
                </a:cubicBezTo>
                <a:cubicBezTo>
                  <a:pt x="2823" y="1555"/>
                  <a:pt x="2823" y="1759"/>
                  <a:pt x="2698" y="1884"/>
                </a:cubicBezTo>
                <a:cubicBezTo>
                  <a:pt x="1785" y="2799"/>
                  <a:pt x="1785" y="2799"/>
                  <a:pt x="1785" y="2799"/>
                </a:cubicBezTo>
                <a:close/>
                <a:moveTo>
                  <a:pt x="1394" y="1266"/>
                </a:moveTo>
                <a:cubicBezTo>
                  <a:pt x="1369" y="1266"/>
                  <a:pt x="1344" y="1276"/>
                  <a:pt x="1326" y="1294"/>
                </a:cubicBezTo>
                <a:cubicBezTo>
                  <a:pt x="1031" y="1589"/>
                  <a:pt x="1031" y="1589"/>
                  <a:pt x="1031" y="1589"/>
                </a:cubicBezTo>
                <a:cubicBezTo>
                  <a:pt x="1013" y="1608"/>
                  <a:pt x="1003" y="1632"/>
                  <a:pt x="1003" y="1657"/>
                </a:cubicBezTo>
                <a:cubicBezTo>
                  <a:pt x="1003" y="1683"/>
                  <a:pt x="1013" y="1707"/>
                  <a:pt x="1031" y="1725"/>
                </a:cubicBezTo>
                <a:cubicBezTo>
                  <a:pt x="1785" y="2480"/>
                  <a:pt x="1785" y="2480"/>
                  <a:pt x="1785" y="2480"/>
                </a:cubicBezTo>
                <a:cubicBezTo>
                  <a:pt x="2539" y="1725"/>
                  <a:pt x="2539" y="1725"/>
                  <a:pt x="2539" y="1725"/>
                </a:cubicBezTo>
                <a:cubicBezTo>
                  <a:pt x="2576" y="1688"/>
                  <a:pt x="2576" y="1627"/>
                  <a:pt x="2539" y="1589"/>
                </a:cubicBezTo>
                <a:cubicBezTo>
                  <a:pt x="2243" y="1294"/>
                  <a:pt x="2243" y="1294"/>
                  <a:pt x="2243" y="1294"/>
                </a:cubicBezTo>
                <a:cubicBezTo>
                  <a:pt x="2225" y="1276"/>
                  <a:pt x="2201" y="1266"/>
                  <a:pt x="2175" y="1266"/>
                </a:cubicBezTo>
                <a:cubicBezTo>
                  <a:pt x="2150" y="1266"/>
                  <a:pt x="2125" y="1276"/>
                  <a:pt x="2107" y="1294"/>
                </a:cubicBezTo>
                <a:cubicBezTo>
                  <a:pt x="1785" y="1616"/>
                  <a:pt x="1785" y="1616"/>
                  <a:pt x="1785" y="1616"/>
                </a:cubicBezTo>
                <a:cubicBezTo>
                  <a:pt x="1462" y="1294"/>
                  <a:pt x="1462" y="1294"/>
                  <a:pt x="1462" y="1294"/>
                </a:cubicBezTo>
                <a:cubicBezTo>
                  <a:pt x="1444" y="1276"/>
                  <a:pt x="1420" y="1266"/>
                  <a:pt x="1394" y="1266"/>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52">
              <a:defRPr/>
            </a:pPr>
            <a:endParaRPr lang="en-US" sz="1999">
              <a:solidFill>
                <a:prstClr val="black"/>
              </a:solidFill>
              <a:latin typeface="Open Sans"/>
              <a:sym typeface="Helvetica Light"/>
            </a:endParaRPr>
          </a:p>
        </p:txBody>
      </p:sp>
      <p:sp>
        <p:nvSpPr>
          <p:cNvPr id="19" name="TextBox 18">
            <a:extLst>
              <a:ext uri="{FF2B5EF4-FFF2-40B4-BE49-F238E27FC236}">
                <a16:creationId xmlns:a16="http://schemas.microsoft.com/office/drawing/2014/main" id="{63B74343-30A0-2449-97FD-2C6DC2C6F5FF}"/>
              </a:ext>
            </a:extLst>
          </p:cNvPr>
          <p:cNvSpPr txBox="1"/>
          <p:nvPr/>
        </p:nvSpPr>
        <p:spPr>
          <a:xfrm>
            <a:off x="10028367" y="3096993"/>
            <a:ext cx="1766153" cy="946167"/>
          </a:xfrm>
          <a:prstGeom prst="rect">
            <a:avLst/>
          </a:prstGeom>
          <a:noFill/>
        </p:spPr>
        <p:txBody>
          <a:bodyPr wrap="square" lIns="0" tIns="0" rIns="0" bIns="0" rtlCol="0">
            <a:spAutoFit/>
          </a:bodyPr>
          <a:lstStyle/>
          <a:p>
            <a:pPr algn="ctr" defTabSz="457052">
              <a:lnSpc>
                <a:spcPts val="1200"/>
              </a:lnSpc>
              <a:defRPr/>
            </a:pPr>
            <a:r>
              <a:rPr lang="en-US" sz="1400" b="1">
                <a:solidFill>
                  <a:prstClr val="black"/>
                </a:solidFill>
                <a:latin typeface="Arial" panose="020B0604020202020204" pitchFamily="34" charset="0"/>
                <a:cs typeface="Arial" panose="020B0604020202020204" pitchFamily="34" charset="0"/>
                <a:sym typeface="Helvetica Light"/>
              </a:rPr>
              <a:t>Optimize performance </a:t>
            </a:r>
            <a:br>
              <a:rPr lang="en-US" sz="1400" b="1">
                <a:solidFill>
                  <a:prstClr val="black"/>
                </a:solidFill>
                <a:latin typeface="Arial" panose="020B0604020202020204" pitchFamily="34" charset="0"/>
                <a:cs typeface="Arial" panose="020B0604020202020204" pitchFamily="34" charset="0"/>
                <a:sym typeface="Helvetica Light"/>
              </a:rPr>
            </a:br>
            <a:r>
              <a:rPr lang="en-US" sz="1400" b="1">
                <a:solidFill>
                  <a:prstClr val="black"/>
                </a:solidFill>
                <a:latin typeface="Arial" panose="020B0604020202020204" pitchFamily="34" charset="0"/>
                <a:cs typeface="Arial" panose="020B0604020202020204" pitchFamily="34" charset="0"/>
                <a:sym typeface="Helvetica Light"/>
              </a:rPr>
              <a:t>and service </a:t>
            </a:r>
          </a:p>
          <a:p>
            <a:pPr algn="ctr" defTabSz="457052">
              <a:defRPr/>
            </a:pPr>
            <a:r>
              <a:rPr lang="en-US" sz="1050">
                <a:solidFill>
                  <a:prstClr val="black"/>
                </a:solidFill>
                <a:latin typeface="Arial" panose="020B0604020202020204" pitchFamily="34" charset="0"/>
                <a:cs typeface="Arial" panose="020B0604020202020204" pitchFamily="34" charset="0"/>
                <a:sym typeface="Helvetica Light"/>
              </a:rPr>
              <a:t>Ensure our people, processes and technology enable our strategy</a:t>
            </a:r>
          </a:p>
        </p:txBody>
      </p:sp>
      <p:sp>
        <p:nvSpPr>
          <p:cNvPr id="20" name="TextBox 19">
            <a:extLst>
              <a:ext uri="{FF2B5EF4-FFF2-40B4-BE49-F238E27FC236}">
                <a16:creationId xmlns:a16="http://schemas.microsoft.com/office/drawing/2014/main" id="{324DA364-55EB-184A-9F42-F27810F78718}"/>
              </a:ext>
            </a:extLst>
          </p:cNvPr>
          <p:cNvSpPr txBox="1"/>
          <p:nvPr/>
        </p:nvSpPr>
        <p:spPr>
          <a:xfrm>
            <a:off x="8099935" y="3226624"/>
            <a:ext cx="1732528" cy="638470"/>
          </a:xfrm>
          <a:prstGeom prst="rect">
            <a:avLst/>
          </a:prstGeom>
          <a:noFill/>
        </p:spPr>
        <p:txBody>
          <a:bodyPr wrap="square" lIns="0" tIns="0" rIns="0" bIns="0" rtlCol="0">
            <a:spAutoFit/>
          </a:bodyPr>
          <a:lstStyle/>
          <a:p>
            <a:pPr algn="ctr" defTabSz="457052">
              <a:lnSpc>
                <a:spcPts val="1200"/>
              </a:lnSpc>
              <a:defRPr/>
            </a:pPr>
            <a:r>
              <a:rPr lang="en-US" sz="1400" b="1">
                <a:solidFill>
                  <a:prstClr val="black"/>
                </a:solidFill>
                <a:latin typeface="Arial" panose="020B0604020202020204" pitchFamily="34" charset="0"/>
                <a:cs typeface="Arial" panose="020B0604020202020204" pitchFamily="34" charset="0"/>
                <a:sym typeface="Helvetica Light"/>
              </a:rPr>
              <a:t>Attract and inspire</a:t>
            </a:r>
          </a:p>
          <a:p>
            <a:pPr algn="ctr" defTabSz="457052">
              <a:defRPr/>
            </a:pPr>
            <a:r>
              <a:rPr lang="en-US" sz="1050">
                <a:solidFill>
                  <a:prstClr val="black"/>
                </a:solidFill>
                <a:latin typeface="Arial" panose="020B0604020202020204" pitchFamily="34" charset="0"/>
                <a:cs typeface="Arial" panose="020B0604020202020204" pitchFamily="34" charset="0"/>
                <a:sym typeface="Helvetica Light"/>
              </a:rPr>
              <a:t>Unlock the power of </a:t>
            </a:r>
            <a:br>
              <a:rPr lang="en-US" sz="1050">
                <a:solidFill>
                  <a:prstClr val="black"/>
                </a:solidFill>
                <a:latin typeface="Arial" panose="020B0604020202020204" pitchFamily="34" charset="0"/>
                <a:cs typeface="Arial" panose="020B0604020202020204" pitchFamily="34" charset="0"/>
                <a:sym typeface="Helvetica Light"/>
              </a:rPr>
            </a:br>
            <a:r>
              <a:rPr lang="en-US" sz="1050">
                <a:solidFill>
                  <a:prstClr val="black"/>
                </a:solidFill>
                <a:latin typeface="Arial" panose="020B0604020202020204" pitchFamily="34" charset="0"/>
                <a:cs typeface="Arial" panose="020B0604020202020204" pitchFamily="34" charset="0"/>
                <a:sym typeface="Helvetica Light"/>
              </a:rPr>
              <a:t>our people to transform health care</a:t>
            </a:r>
          </a:p>
        </p:txBody>
      </p:sp>
      <p:sp>
        <p:nvSpPr>
          <p:cNvPr id="21" name="TextBox 20">
            <a:extLst>
              <a:ext uri="{FF2B5EF4-FFF2-40B4-BE49-F238E27FC236}">
                <a16:creationId xmlns:a16="http://schemas.microsoft.com/office/drawing/2014/main" id="{52A98706-73E8-0241-9BC9-EB0B6D85D929}"/>
              </a:ext>
            </a:extLst>
          </p:cNvPr>
          <p:cNvSpPr txBox="1"/>
          <p:nvPr/>
        </p:nvSpPr>
        <p:spPr>
          <a:xfrm>
            <a:off x="6213596" y="3226625"/>
            <a:ext cx="1791458" cy="638470"/>
          </a:xfrm>
          <a:prstGeom prst="rect">
            <a:avLst/>
          </a:prstGeom>
          <a:noFill/>
        </p:spPr>
        <p:txBody>
          <a:bodyPr wrap="square" lIns="0" tIns="0" rIns="0" bIns="0" rtlCol="0">
            <a:spAutoFit/>
          </a:bodyPr>
          <a:lstStyle/>
          <a:p>
            <a:pPr algn="ctr" defTabSz="457052">
              <a:lnSpc>
                <a:spcPts val="1200"/>
              </a:lnSpc>
              <a:defRPr/>
            </a:pPr>
            <a:r>
              <a:rPr lang="en-US" sz="1400" b="1">
                <a:solidFill>
                  <a:prstClr val="black"/>
                </a:solidFill>
                <a:latin typeface="Arial" panose="020B0604020202020204" pitchFamily="34" charset="0"/>
                <a:cs typeface="Arial" panose="020B0604020202020204" pitchFamily="34" charset="0"/>
                <a:sym typeface="Helvetica Light"/>
              </a:rPr>
              <a:t>Lead the change</a:t>
            </a:r>
          </a:p>
          <a:p>
            <a:pPr algn="ctr" defTabSz="457052">
              <a:defRPr/>
            </a:pPr>
            <a:r>
              <a:rPr lang="en-US" sz="1050">
                <a:solidFill>
                  <a:prstClr val="black"/>
                </a:solidFill>
                <a:latin typeface="Arial" panose="020B0604020202020204" pitchFamily="34" charset="0"/>
                <a:cs typeface="Arial" panose="020B0604020202020204" pitchFamily="34" charset="0"/>
                <a:sym typeface="Helvetica Light"/>
              </a:rPr>
              <a:t>Challenge the status quo with new technologies, business models and partnerships</a:t>
            </a:r>
          </a:p>
        </p:txBody>
      </p:sp>
      <p:sp>
        <p:nvSpPr>
          <p:cNvPr id="25" name="Rectangle 24">
            <a:extLst>
              <a:ext uri="{FF2B5EF4-FFF2-40B4-BE49-F238E27FC236}">
                <a16:creationId xmlns:a16="http://schemas.microsoft.com/office/drawing/2014/main" id="{48567502-1459-C943-BFF6-DE375356F63C}"/>
              </a:ext>
            </a:extLst>
          </p:cNvPr>
          <p:cNvSpPr/>
          <p:nvPr/>
        </p:nvSpPr>
        <p:spPr>
          <a:xfrm>
            <a:off x="6199978" y="2390543"/>
            <a:ext cx="1826647" cy="1637965"/>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en-US" sz="2799" b="1">
              <a:solidFill>
                <a:prstClr val="white"/>
              </a:solidFill>
              <a:latin typeface="Open Sans"/>
              <a:sym typeface="Helvetica Light"/>
            </a:endParaRPr>
          </a:p>
        </p:txBody>
      </p:sp>
      <p:sp>
        <p:nvSpPr>
          <p:cNvPr id="26" name="Rectangle 25">
            <a:extLst>
              <a:ext uri="{FF2B5EF4-FFF2-40B4-BE49-F238E27FC236}">
                <a16:creationId xmlns:a16="http://schemas.microsoft.com/office/drawing/2014/main" id="{0733D1B4-122E-6144-9E59-A11E071A4E20}"/>
              </a:ext>
            </a:extLst>
          </p:cNvPr>
          <p:cNvSpPr/>
          <p:nvPr/>
        </p:nvSpPr>
        <p:spPr>
          <a:xfrm>
            <a:off x="8102871" y="2395637"/>
            <a:ext cx="1826647" cy="1637965"/>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r>
              <a:rPr lang="en-US" sz="2799" b="1">
                <a:solidFill>
                  <a:prstClr val="white"/>
                </a:solidFill>
                <a:latin typeface="Open Sans"/>
                <a:sym typeface="Helvetica Light"/>
              </a:rPr>
              <a:t>   </a:t>
            </a:r>
          </a:p>
        </p:txBody>
      </p:sp>
      <p:sp>
        <p:nvSpPr>
          <p:cNvPr id="27" name="Rectangle 26">
            <a:extLst>
              <a:ext uri="{FF2B5EF4-FFF2-40B4-BE49-F238E27FC236}">
                <a16:creationId xmlns:a16="http://schemas.microsoft.com/office/drawing/2014/main" id="{9C7D6E3D-1C95-FB4C-87D6-5D74AD5B31C7}"/>
              </a:ext>
            </a:extLst>
          </p:cNvPr>
          <p:cNvSpPr/>
          <p:nvPr/>
        </p:nvSpPr>
        <p:spPr>
          <a:xfrm>
            <a:off x="10002830" y="2390543"/>
            <a:ext cx="1826647" cy="1637965"/>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r>
              <a:rPr lang="en-US" sz="2799" b="1">
                <a:solidFill>
                  <a:prstClr val="white"/>
                </a:solidFill>
                <a:latin typeface="Open Sans"/>
                <a:sym typeface="Helvetica Light"/>
              </a:rPr>
              <a:t>   </a:t>
            </a:r>
          </a:p>
        </p:txBody>
      </p:sp>
      <p:sp>
        <p:nvSpPr>
          <p:cNvPr id="32" name="Rectangle 31">
            <a:extLst>
              <a:ext uri="{FF2B5EF4-FFF2-40B4-BE49-F238E27FC236}">
                <a16:creationId xmlns:a16="http://schemas.microsoft.com/office/drawing/2014/main" id="{64E7A283-BCAC-4560-8A5C-1B7B2914F5EA}"/>
              </a:ext>
            </a:extLst>
          </p:cNvPr>
          <p:cNvSpPr/>
          <p:nvPr/>
        </p:nvSpPr>
        <p:spPr>
          <a:xfrm>
            <a:off x="486283" y="2399711"/>
            <a:ext cx="1826647" cy="1637965"/>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endParaRPr lang="en-US" sz="2399" b="1">
              <a:solidFill>
                <a:prstClr val="white"/>
              </a:solidFill>
              <a:latin typeface="Open Sans"/>
              <a:sym typeface="Helvetica Light"/>
            </a:endParaRPr>
          </a:p>
        </p:txBody>
      </p:sp>
      <p:sp>
        <p:nvSpPr>
          <p:cNvPr id="33" name="Rectangle 32">
            <a:extLst>
              <a:ext uri="{FF2B5EF4-FFF2-40B4-BE49-F238E27FC236}">
                <a16:creationId xmlns:a16="http://schemas.microsoft.com/office/drawing/2014/main" id="{82DE5283-C3ED-41A4-B520-6B47B98DD79B}"/>
              </a:ext>
            </a:extLst>
          </p:cNvPr>
          <p:cNvSpPr/>
          <p:nvPr/>
        </p:nvSpPr>
        <p:spPr>
          <a:xfrm>
            <a:off x="2389176" y="2404804"/>
            <a:ext cx="1826647" cy="1623700"/>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r>
              <a:rPr lang="en-US" sz="2399" b="1">
                <a:solidFill>
                  <a:prstClr val="white"/>
                </a:solidFill>
                <a:latin typeface="Open Sans"/>
                <a:sym typeface="Helvetica Light"/>
              </a:rPr>
              <a:t>   </a:t>
            </a:r>
          </a:p>
        </p:txBody>
      </p:sp>
      <p:sp>
        <p:nvSpPr>
          <p:cNvPr id="34" name="Rectangle 33">
            <a:extLst>
              <a:ext uri="{FF2B5EF4-FFF2-40B4-BE49-F238E27FC236}">
                <a16:creationId xmlns:a16="http://schemas.microsoft.com/office/drawing/2014/main" id="{AA2940FB-4C7E-4365-9F1C-9FA4220A3C2F}"/>
              </a:ext>
            </a:extLst>
          </p:cNvPr>
          <p:cNvSpPr/>
          <p:nvPr/>
        </p:nvSpPr>
        <p:spPr>
          <a:xfrm>
            <a:off x="4289135" y="2399711"/>
            <a:ext cx="1826647" cy="1637965"/>
          </a:xfrm>
          <a:prstGeom prst="rect">
            <a:avLst/>
          </a:prstGeom>
          <a:noFill/>
          <a:ln w="28575">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52">
              <a:defRPr/>
            </a:pPr>
            <a:r>
              <a:rPr lang="en-US" sz="2399" b="1">
                <a:solidFill>
                  <a:prstClr val="white"/>
                </a:solidFill>
                <a:latin typeface="Open Sans"/>
                <a:sym typeface="Helvetica Light"/>
              </a:rPr>
              <a:t>   </a:t>
            </a:r>
          </a:p>
        </p:txBody>
      </p:sp>
      <p:pic>
        <p:nvPicPr>
          <p:cNvPr id="2" name="Picture 1">
            <a:extLst>
              <a:ext uri="{FF2B5EF4-FFF2-40B4-BE49-F238E27FC236}">
                <a16:creationId xmlns:a16="http://schemas.microsoft.com/office/drawing/2014/main" id="{C9730884-2B20-4120-8E34-D74BFE46A199}"/>
              </a:ext>
            </a:extLst>
          </p:cNvPr>
          <p:cNvPicPr>
            <a:picLocks noChangeAspect="1"/>
          </p:cNvPicPr>
          <p:nvPr/>
        </p:nvPicPr>
        <p:blipFill>
          <a:blip r:embed="rId3"/>
          <a:stretch>
            <a:fillRect/>
          </a:stretch>
        </p:blipFill>
        <p:spPr>
          <a:xfrm>
            <a:off x="1174800" y="2627029"/>
            <a:ext cx="504694" cy="442798"/>
          </a:xfrm>
          <a:prstGeom prst="rect">
            <a:avLst/>
          </a:prstGeom>
        </p:spPr>
      </p:pic>
      <p:pic>
        <p:nvPicPr>
          <p:cNvPr id="3" name="Picture 2">
            <a:extLst>
              <a:ext uri="{FF2B5EF4-FFF2-40B4-BE49-F238E27FC236}">
                <a16:creationId xmlns:a16="http://schemas.microsoft.com/office/drawing/2014/main" id="{D2EC4806-D668-458C-8C66-14735432798C}"/>
              </a:ext>
            </a:extLst>
          </p:cNvPr>
          <p:cNvPicPr>
            <a:picLocks noChangeAspect="1"/>
          </p:cNvPicPr>
          <p:nvPr/>
        </p:nvPicPr>
        <p:blipFill>
          <a:blip r:embed="rId4"/>
          <a:stretch>
            <a:fillRect/>
          </a:stretch>
        </p:blipFill>
        <p:spPr>
          <a:xfrm>
            <a:off x="6886961" y="2458708"/>
            <a:ext cx="538804" cy="673505"/>
          </a:xfrm>
          <a:prstGeom prst="rect">
            <a:avLst/>
          </a:prstGeom>
        </p:spPr>
      </p:pic>
      <p:pic>
        <p:nvPicPr>
          <p:cNvPr id="16" name="Picture 15">
            <a:extLst>
              <a:ext uri="{FF2B5EF4-FFF2-40B4-BE49-F238E27FC236}">
                <a16:creationId xmlns:a16="http://schemas.microsoft.com/office/drawing/2014/main" id="{8DD4831D-C75F-4009-87A5-8BDD760AE1F7}"/>
              </a:ext>
            </a:extLst>
          </p:cNvPr>
          <p:cNvPicPr>
            <a:picLocks noChangeAspect="1"/>
          </p:cNvPicPr>
          <p:nvPr/>
        </p:nvPicPr>
        <p:blipFill>
          <a:blip r:embed="rId5"/>
          <a:stretch>
            <a:fillRect/>
          </a:stretch>
        </p:blipFill>
        <p:spPr>
          <a:xfrm>
            <a:off x="2936532" y="2527168"/>
            <a:ext cx="634726" cy="634726"/>
          </a:xfrm>
          <a:prstGeom prst="rect">
            <a:avLst/>
          </a:prstGeom>
        </p:spPr>
      </p:pic>
      <p:pic>
        <p:nvPicPr>
          <p:cNvPr id="17" name="Picture 16">
            <a:extLst>
              <a:ext uri="{FF2B5EF4-FFF2-40B4-BE49-F238E27FC236}">
                <a16:creationId xmlns:a16="http://schemas.microsoft.com/office/drawing/2014/main" id="{07E382AA-5499-4568-B9BB-5F6E941C1C2E}"/>
              </a:ext>
            </a:extLst>
          </p:cNvPr>
          <p:cNvPicPr>
            <a:picLocks noChangeAspect="1"/>
          </p:cNvPicPr>
          <p:nvPr/>
        </p:nvPicPr>
        <p:blipFill>
          <a:blip r:embed="rId6"/>
          <a:stretch>
            <a:fillRect/>
          </a:stretch>
        </p:blipFill>
        <p:spPr>
          <a:xfrm>
            <a:off x="8730359" y="2500589"/>
            <a:ext cx="569239" cy="569239"/>
          </a:xfrm>
          <a:prstGeom prst="rect">
            <a:avLst/>
          </a:prstGeom>
        </p:spPr>
      </p:pic>
      <p:pic>
        <p:nvPicPr>
          <p:cNvPr id="18" name="Picture 17">
            <a:extLst>
              <a:ext uri="{FF2B5EF4-FFF2-40B4-BE49-F238E27FC236}">
                <a16:creationId xmlns:a16="http://schemas.microsoft.com/office/drawing/2014/main" id="{2F5AE232-DD28-449E-A9D0-97594CA56547}"/>
              </a:ext>
            </a:extLst>
          </p:cNvPr>
          <p:cNvPicPr>
            <a:picLocks noChangeAspect="1"/>
          </p:cNvPicPr>
          <p:nvPr/>
        </p:nvPicPr>
        <p:blipFill>
          <a:blip r:embed="rId7"/>
          <a:stretch>
            <a:fillRect/>
          </a:stretch>
        </p:blipFill>
        <p:spPr>
          <a:xfrm>
            <a:off x="4876785" y="2558798"/>
            <a:ext cx="657704" cy="562038"/>
          </a:xfrm>
          <a:prstGeom prst="rect">
            <a:avLst/>
          </a:prstGeom>
        </p:spPr>
      </p:pic>
      <p:pic>
        <p:nvPicPr>
          <p:cNvPr id="31" name="Picture 30">
            <a:extLst>
              <a:ext uri="{FF2B5EF4-FFF2-40B4-BE49-F238E27FC236}">
                <a16:creationId xmlns:a16="http://schemas.microsoft.com/office/drawing/2014/main" id="{B67AB685-A3DB-4EF8-8500-7164D583DF67}"/>
              </a:ext>
            </a:extLst>
          </p:cNvPr>
          <p:cNvPicPr>
            <a:picLocks noChangeAspect="1"/>
          </p:cNvPicPr>
          <p:nvPr/>
        </p:nvPicPr>
        <p:blipFill>
          <a:blip r:embed="rId8"/>
          <a:stretch>
            <a:fillRect/>
          </a:stretch>
        </p:blipFill>
        <p:spPr>
          <a:xfrm>
            <a:off x="10672903" y="2493701"/>
            <a:ext cx="515201" cy="562038"/>
          </a:xfrm>
          <a:prstGeom prst="rect">
            <a:avLst/>
          </a:prstGeom>
        </p:spPr>
      </p:pic>
      <p:sp>
        <p:nvSpPr>
          <p:cNvPr id="35" name="Rectangle 34">
            <a:extLst>
              <a:ext uri="{FF2B5EF4-FFF2-40B4-BE49-F238E27FC236}">
                <a16:creationId xmlns:a16="http://schemas.microsoft.com/office/drawing/2014/main" id="{BCC7B300-DD4E-4CDE-B122-8DBD80CF7D10}"/>
              </a:ext>
            </a:extLst>
          </p:cNvPr>
          <p:cNvSpPr/>
          <p:nvPr/>
        </p:nvSpPr>
        <p:spPr>
          <a:xfrm>
            <a:off x="64288" y="4091634"/>
            <a:ext cx="11762254" cy="207772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200" b="1">
              <a:solidFill>
                <a:srgbClr val="414141"/>
              </a:solidFill>
              <a:cs typeface="Arial" panose="020B0604020202020204" pitchFamily="34" charset="0"/>
              <a:sym typeface="Arial" panose="020B0604020202020204" pitchFamily="34" charset="0"/>
            </a:endParaRPr>
          </a:p>
        </p:txBody>
      </p:sp>
      <p:sp>
        <p:nvSpPr>
          <p:cNvPr id="37" name="Rectangle 36">
            <a:extLst>
              <a:ext uri="{FF2B5EF4-FFF2-40B4-BE49-F238E27FC236}">
                <a16:creationId xmlns:a16="http://schemas.microsoft.com/office/drawing/2014/main" id="{37818ACD-A1BA-46CD-BD1C-730994A6DFC3}"/>
              </a:ext>
            </a:extLst>
          </p:cNvPr>
          <p:cNvSpPr/>
          <p:nvPr/>
        </p:nvSpPr>
        <p:spPr>
          <a:xfrm>
            <a:off x="2366204" y="4136941"/>
            <a:ext cx="1826647" cy="180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126">
              <a:defRPr/>
            </a:pPr>
            <a:r>
              <a:rPr lang="en-US" sz="1200" b="1" dirty="0">
                <a:solidFill>
                  <a:srgbClr val="000000"/>
                </a:solidFill>
                <a:cs typeface="Arial" panose="020B0604020202020204" pitchFamily="34" charset="0"/>
              </a:rPr>
              <a:t>All LOB/departments in need of external data can point to a central location and have full visibility into all the external data we own enabling us to re-use and leverage it across the board</a:t>
            </a:r>
          </a:p>
        </p:txBody>
      </p:sp>
      <p:sp>
        <p:nvSpPr>
          <p:cNvPr id="38" name="Rectangle 37">
            <a:extLst>
              <a:ext uri="{FF2B5EF4-FFF2-40B4-BE49-F238E27FC236}">
                <a16:creationId xmlns:a16="http://schemas.microsoft.com/office/drawing/2014/main" id="{1A443F8F-8D68-42AA-BAEE-15BC368AA565}"/>
              </a:ext>
            </a:extLst>
          </p:cNvPr>
          <p:cNvSpPr/>
          <p:nvPr/>
        </p:nvSpPr>
        <p:spPr>
          <a:xfrm>
            <a:off x="6169942" y="4139612"/>
            <a:ext cx="1913951" cy="2256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126">
              <a:defRPr/>
            </a:pPr>
            <a:r>
              <a:rPr lang="en-US" sz="1200" b="1" dirty="0">
                <a:solidFill>
                  <a:srgbClr val="000000"/>
                </a:solidFill>
                <a:cs typeface="Arial" panose="020B0604020202020204" pitchFamily="34" charset="0"/>
              </a:rPr>
              <a:t>Establishing a new external data index and governance would allow us to gain efficiencies in the external data area in conjunction with the ongoing initiative for implementing an Enterprise-wide registry of all metadata</a:t>
            </a:r>
            <a:endParaRPr lang="en-US" sz="1200" b="1" dirty="0">
              <a:solidFill>
                <a:srgbClr val="000000"/>
              </a:solidFill>
              <a:cs typeface="Arial" panose="020B0604020202020204" pitchFamily="34" charset="0"/>
              <a:sym typeface="Arial" panose="020B0604020202020204" pitchFamily="34" charset="0"/>
            </a:endParaRPr>
          </a:p>
          <a:p>
            <a:pPr algn="ctr" defTabSz="914126">
              <a:defRPr/>
            </a:pPr>
            <a:endParaRPr lang="en-US" sz="1200" b="1" dirty="0">
              <a:solidFill>
                <a:srgbClr val="000000"/>
              </a:solidFill>
              <a:cs typeface="Arial" panose="020B0604020202020204" pitchFamily="34" charset="0"/>
            </a:endParaRPr>
          </a:p>
        </p:txBody>
      </p:sp>
      <p:sp>
        <p:nvSpPr>
          <p:cNvPr id="39" name="Rectangle 38">
            <a:extLst>
              <a:ext uri="{FF2B5EF4-FFF2-40B4-BE49-F238E27FC236}">
                <a16:creationId xmlns:a16="http://schemas.microsoft.com/office/drawing/2014/main" id="{4ABD6ED7-5DEF-4E10-B245-E30CE0802EF1}"/>
              </a:ext>
            </a:extLst>
          </p:cNvPr>
          <p:cNvSpPr/>
          <p:nvPr/>
        </p:nvSpPr>
        <p:spPr>
          <a:xfrm>
            <a:off x="4200058" y="4138487"/>
            <a:ext cx="1947803" cy="18095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126">
              <a:defRPr/>
            </a:pPr>
            <a:r>
              <a:rPr lang="en-US" sz="1200" b="1" dirty="0">
                <a:solidFill>
                  <a:srgbClr val="000000"/>
                </a:solidFill>
                <a:cs typeface="Arial" panose="020B0604020202020204" pitchFamily="34" charset="0"/>
              </a:rPr>
              <a:t>Develop more timely and consistent insights into our consumer’s health by leveraging existing external data sources across the Enterprise</a:t>
            </a:r>
          </a:p>
        </p:txBody>
      </p:sp>
      <p:sp>
        <p:nvSpPr>
          <p:cNvPr id="40" name="Rectangle 39">
            <a:extLst>
              <a:ext uri="{FF2B5EF4-FFF2-40B4-BE49-F238E27FC236}">
                <a16:creationId xmlns:a16="http://schemas.microsoft.com/office/drawing/2014/main" id="{E5BC28D1-A317-46D6-8D20-1C1199149729}"/>
              </a:ext>
            </a:extLst>
          </p:cNvPr>
          <p:cNvSpPr/>
          <p:nvPr/>
        </p:nvSpPr>
        <p:spPr>
          <a:xfrm>
            <a:off x="9964706" y="4138487"/>
            <a:ext cx="1823713" cy="1905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126">
              <a:defRPr/>
            </a:pPr>
            <a:r>
              <a:rPr lang="en-US" sz="1200" b="1" dirty="0">
                <a:solidFill>
                  <a:srgbClr val="000000"/>
                </a:solidFill>
                <a:cs typeface="Arial" panose="020B0604020202020204" pitchFamily="34" charset="0"/>
                <a:sym typeface="Arial" panose="020B0604020202020204" pitchFamily="34" charset="0"/>
              </a:rPr>
              <a:t>By centralizing external data management, we  gain efficiencies by finding the best value in data acquisition prior to a contract and lowering the total cost of external data ownership</a:t>
            </a:r>
          </a:p>
        </p:txBody>
      </p:sp>
      <p:sp>
        <p:nvSpPr>
          <p:cNvPr id="41" name="Rectangle 40">
            <a:extLst>
              <a:ext uri="{FF2B5EF4-FFF2-40B4-BE49-F238E27FC236}">
                <a16:creationId xmlns:a16="http://schemas.microsoft.com/office/drawing/2014/main" id="{F61881A8-8097-4E01-9E0A-37E81BD78925}"/>
              </a:ext>
            </a:extLst>
          </p:cNvPr>
          <p:cNvSpPr/>
          <p:nvPr/>
        </p:nvSpPr>
        <p:spPr>
          <a:xfrm>
            <a:off x="8102870" y="4139611"/>
            <a:ext cx="1823713" cy="16472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126">
              <a:defRPr/>
            </a:pPr>
            <a:r>
              <a:rPr lang="en-US" sz="1200" b="1" dirty="0">
                <a:solidFill>
                  <a:srgbClr val="000000"/>
                </a:solidFill>
                <a:cs typeface="Arial" panose="020B0604020202020204" pitchFamily="34" charset="0"/>
                <a:sym typeface="Arial" panose="020B0604020202020204" pitchFamily="34" charset="0"/>
              </a:rPr>
              <a:t>Exposing metadata on the external data assets we intake can inspire people to use this data for new initiatives and expand the art of the possible</a:t>
            </a:r>
          </a:p>
        </p:txBody>
      </p:sp>
      <p:sp>
        <p:nvSpPr>
          <p:cNvPr id="36" name="Rectangle 35">
            <a:extLst>
              <a:ext uri="{FF2B5EF4-FFF2-40B4-BE49-F238E27FC236}">
                <a16:creationId xmlns:a16="http://schemas.microsoft.com/office/drawing/2014/main" id="{B3D7E50B-682B-42EC-9FFB-30C34009C401}"/>
              </a:ext>
            </a:extLst>
          </p:cNvPr>
          <p:cNvSpPr/>
          <p:nvPr/>
        </p:nvSpPr>
        <p:spPr>
          <a:xfrm rot="16200000">
            <a:off x="-678410" y="4834331"/>
            <a:ext cx="1905535" cy="4201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n-US" sz="1200" b="1">
                <a:solidFill>
                  <a:srgbClr val="414141"/>
                </a:solidFill>
                <a:latin typeface="Arial" panose="020B0604020202020204" pitchFamily="34" charset="0"/>
                <a:cs typeface="Arial" panose="020B0604020202020204" pitchFamily="34" charset="0"/>
                <a:sym typeface="Arial" panose="020B0604020202020204" pitchFamily="34" charset="0"/>
              </a:rPr>
              <a:t>How We </a:t>
            </a:r>
            <a:r>
              <a:rPr lang="en-US" sz="1200" b="1">
                <a:solidFill>
                  <a:srgbClr val="414141"/>
                </a:solidFill>
                <a:cs typeface="Arial" panose="020B0604020202020204" pitchFamily="34" charset="0"/>
                <a:sym typeface="Arial" panose="020B0604020202020204" pitchFamily="34" charset="0"/>
              </a:rPr>
              <a:t>Differentiate</a:t>
            </a:r>
          </a:p>
        </p:txBody>
      </p:sp>
      <p:cxnSp>
        <p:nvCxnSpPr>
          <p:cNvPr id="44" name="Straight Connector 43">
            <a:extLst>
              <a:ext uri="{FF2B5EF4-FFF2-40B4-BE49-F238E27FC236}">
                <a16:creationId xmlns:a16="http://schemas.microsoft.com/office/drawing/2014/main" id="{EEBD5CC2-89B1-4EBD-A24F-77DF6CFE39DA}"/>
              </a:ext>
            </a:extLst>
          </p:cNvPr>
          <p:cNvCxnSpPr>
            <a:cxnSpLocks/>
          </p:cNvCxnSpPr>
          <p:nvPr/>
        </p:nvCxnSpPr>
        <p:spPr bwMode="gray">
          <a:xfrm flipH="1">
            <a:off x="479912" y="4189468"/>
            <a:ext cx="8688" cy="1695261"/>
          </a:xfrm>
          <a:prstGeom prst="line">
            <a:avLst/>
          </a:prstGeom>
          <a:ln w="28575" cmpd="sng">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sp>
        <p:nvSpPr>
          <p:cNvPr id="48" name="Rectangle 47">
            <a:extLst>
              <a:ext uri="{FF2B5EF4-FFF2-40B4-BE49-F238E27FC236}">
                <a16:creationId xmlns:a16="http://schemas.microsoft.com/office/drawing/2014/main" id="{0415831F-B7AD-4DDD-86CF-4F02CD25D1C2}"/>
              </a:ext>
            </a:extLst>
          </p:cNvPr>
          <p:cNvSpPr/>
          <p:nvPr/>
        </p:nvSpPr>
        <p:spPr>
          <a:xfrm>
            <a:off x="479913" y="4132731"/>
            <a:ext cx="1826647" cy="1644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126">
              <a:defRPr/>
            </a:pPr>
            <a:r>
              <a:rPr lang="en-US" sz="1200" b="1" dirty="0">
                <a:solidFill>
                  <a:srgbClr val="000000"/>
                </a:solidFill>
                <a:cs typeface="Arial" panose="020B0604020202020204" pitchFamily="34" charset="0"/>
              </a:rPr>
              <a:t>Provide Next Best Action recommendations based on augmented location and care data gained from external data sources</a:t>
            </a:r>
            <a:endParaRPr lang="en-US" sz="1200" b="1" dirty="0">
              <a:solidFill>
                <a:srgbClr val="000000"/>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F4808869-A74B-4A80-AE95-D3CC530BB278}"/>
              </a:ext>
            </a:extLst>
          </p:cNvPr>
          <p:cNvSpPr/>
          <p:nvPr/>
        </p:nvSpPr>
        <p:spPr>
          <a:xfrm>
            <a:off x="5974043" y="3244382"/>
            <a:ext cx="243914" cy="369236"/>
          </a:xfrm>
          <a:prstGeom prst="rect">
            <a:avLst/>
          </a:prstGeom>
        </p:spPr>
        <p:txBody>
          <a:bodyPr wrap="none">
            <a:spAutoFit/>
          </a:bodyPr>
          <a:lstStyle/>
          <a:p>
            <a:pPr defTabSz="914126">
              <a:defRPr/>
            </a:pPr>
            <a:r>
              <a:rPr lang="en-US" sz="1799">
                <a:solidFill>
                  <a:srgbClr val="000000"/>
                </a:solidFill>
                <a:latin typeface="Open Sans"/>
              </a:rPr>
              <a:t> </a:t>
            </a:r>
          </a:p>
        </p:txBody>
      </p:sp>
    </p:spTree>
    <p:extLst>
      <p:ext uri="{BB962C8B-B14F-4D97-AF65-F5344CB8AC3E}">
        <p14:creationId xmlns:p14="http://schemas.microsoft.com/office/powerpoint/2010/main" val="753726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mn-lt"/>
                <a:cs typeface="Arial" panose="020B0604020202020204" pitchFamily="34" charset="0"/>
                <a:sym typeface="Arial" panose="020B0604020202020204" pitchFamily="34" charset="0"/>
              </a:rPr>
              <a:t>Where are we today?</a:t>
            </a:r>
          </a:p>
        </p:txBody>
      </p:sp>
      <p:sp>
        <p:nvSpPr>
          <p:cNvPr id="3" name="Text Placeholder 2"/>
          <p:cNvSpPr>
            <a:spLocks noGrp="1"/>
          </p:cNvSpPr>
          <p:nvPr>
            <p:ph type="body" sz="quarter" idx="4294967295"/>
          </p:nvPr>
        </p:nvSpPr>
        <p:spPr>
          <a:xfrm>
            <a:off x="559372" y="679475"/>
            <a:ext cx="9685338" cy="422275"/>
          </a:xfrm>
        </p:spPr>
        <p:txBody>
          <a:bodyPr vert="horz" lIns="0" tIns="0" rIns="0" bIns="0" rtlCol="0" anchor="t">
            <a:noAutofit/>
          </a:bodyPr>
          <a:lstStyle/>
          <a:p>
            <a:r>
              <a:rPr lang="en-US" dirty="0"/>
              <a:t>Currently, CVS Health has a fundamental lack of visibility when negotiating contracts with external partners for data intake and ingesting the purchased data</a:t>
            </a:r>
            <a:endParaRPr lang="en-US" dirty="0">
              <a:cs typeface="Arial"/>
              <a:sym typeface="Arial" panose="020B0604020202020204" pitchFamily="34" charset="0"/>
            </a:endParaRPr>
          </a:p>
        </p:txBody>
      </p:sp>
      <p:sp>
        <p:nvSpPr>
          <p:cNvPr id="5" name="Oval 4"/>
          <p:cNvSpPr/>
          <p:nvPr/>
        </p:nvSpPr>
        <p:spPr>
          <a:xfrm>
            <a:off x="4335452" y="1560256"/>
            <a:ext cx="1569404" cy="15747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tx1">
                    <a:lumMod val="85000"/>
                    <a:lumOff val="15000"/>
                  </a:schemeClr>
                </a:solidFill>
                <a:cs typeface="Arial" panose="020B0604020202020204" pitchFamily="34" charset="0"/>
                <a:sym typeface="Arial" panose="020B0604020202020204" pitchFamily="34" charset="0"/>
              </a:rPr>
              <a:t>Manual and Duplicative</a:t>
            </a:r>
          </a:p>
        </p:txBody>
      </p:sp>
      <p:sp>
        <p:nvSpPr>
          <p:cNvPr id="6" name="Oval 5"/>
          <p:cNvSpPr/>
          <p:nvPr/>
        </p:nvSpPr>
        <p:spPr>
          <a:xfrm>
            <a:off x="8838233" y="1560255"/>
            <a:ext cx="1569404" cy="15747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tx1">
                    <a:lumMod val="85000"/>
                    <a:lumOff val="15000"/>
                  </a:schemeClr>
                </a:solidFill>
                <a:cs typeface="Arial" panose="020B0604020202020204" pitchFamily="34" charset="0"/>
                <a:sym typeface="Arial" panose="020B0604020202020204" pitchFamily="34" charset="0"/>
              </a:rPr>
              <a:t>Siloed and Segmented</a:t>
            </a:r>
          </a:p>
        </p:txBody>
      </p:sp>
      <p:sp>
        <p:nvSpPr>
          <p:cNvPr id="7" name="TextBox 6"/>
          <p:cNvSpPr txBox="1"/>
          <p:nvPr/>
        </p:nvSpPr>
        <p:spPr>
          <a:xfrm>
            <a:off x="424842" y="2647943"/>
            <a:ext cx="1432449" cy="360236"/>
          </a:xfrm>
          <a:prstGeom prst="rect">
            <a:avLst/>
          </a:prstGeom>
          <a:noFill/>
        </p:spPr>
        <p:txBody>
          <a:bodyPr wrap="none" lIns="0" tIns="0" rIns="0" bIns="0" rtlCol="0" anchor="ctr">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Our </a:t>
            </a:r>
            <a:br>
              <a:rPr lang="en-US" sz="1799" b="1">
                <a:solidFill>
                  <a:schemeClr val="accent1"/>
                </a:solidFill>
                <a:cs typeface="Arial" panose="020B0604020202020204" pitchFamily="34" charset="0"/>
                <a:sym typeface="Arial" panose="020B0604020202020204" pitchFamily="34" charset="0"/>
              </a:rPr>
            </a:br>
            <a:r>
              <a:rPr lang="en-US" sz="1799" b="1">
                <a:solidFill>
                  <a:schemeClr val="accent1"/>
                </a:solidFill>
                <a:cs typeface="Arial" panose="020B0604020202020204" pitchFamily="34" charset="0"/>
                <a:sym typeface="Arial" panose="020B0604020202020204" pitchFamily="34" charset="0"/>
              </a:rPr>
              <a:t>Current State</a:t>
            </a:r>
          </a:p>
        </p:txBody>
      </p:sp>
      <p:sp>
        <p:nvSpPr>
          <p:cNvPr id="8" name="Rectangle 7"/>
          <p:cNvSpPr/>
          <p:nvPr/>
        </p:nvSpPr>
        <p:spPr>
          <a:xfrm>
            <a:off x="3649648" y="1187799"/>
            <a:ext cx="2898102" cy="307777"/>
          </a:xfrm>
          <a:prstGeom prst="rect">
            <a:avLst/>
          </a:prstGeom>
        </p:spPr>
        <p:txBody>
          <a:bodyPr wrap="none">
            <a:spAutoFit/>
          </a:bodyPr>
          <a:lstStyle/>
          <a:p>
            <a:pPr algn="ctr" defTabSz="456621" fontAlgn="base">
              <a:spcBef>
                <a:spcPts val="1200"/>
              </a:spcBef>
              <a:defRPr/>
            </a:pPr>
            <a:r>
              <a:rPr lang="en-US" sz="1400" dirty="0">
                <a:solidFill>
                  <a:srgbClr val="414141"/>
                </a:solidFill>
                <a:cs typeface="Arial" panose="020B0604020202020204" pitchFamily="34" charset="0"/>
                <a:sym typeface="Arial" panose="020B0604020202020204" pitchFamily="34" charset="0"/>
              </a:rPr>
              <a:t>External Data Intake and Storage</a:t>
            </a:r>
          </a:p>
        </p:txBody>
      </p:sp>
      <p:sp>
        <p:nvSpPr>
          <p:cNvPr id="9" name="Rectangle 8"/>
          <p:cNvSpPr/>
          <p:nvPr/>
        </p:nvSpPr>
        <p:spPr>
          <a:xfrm>
            <a:off x="7830078" y="1187799"/>
            <a:ext cx="3554949" cy="307777"/>
          </a:xfrm>
          <a:prstGeom prst="rect">
            <a:avLst/>
          </a:prstGeom>
        </p:spPr>
        <p:txBody>
          <a:bodyPr wrap="none">
            <a:spAutoFit/>
          </a:bodyPr>
          <a:lstStyle/>
          <a:p>
            <a:pPr algn="ctr" defTabSz="456621" fontAlgn="base">
              <a:spcBef>
                <a:spcPts val="1200"/>
              </a:spcBef>
              <a:defRPr/>
            </a:pPr>
            <a:r>
              <a:rPr lang="en-US" sz="1400">
                <a:solidFill>
                  <a:srgbClr val="414141"/>
                </a:solidFill>
                <a:cs typeface="Arial" panose="020B0604020202020204" pitchFamily="34" charset="0"/>
                <a:sym typeface="Arial" panose="020B0604020202020204" pitchFamily="34" charset="0"/>
              </a:rPr>
              <a:t>External Data Discoverability and Re-Use</a:t>
            </a:r>
          </a:p>
        </p:txBody>
      </p:sp>
      <p:sp>
        <p:nvSpPr>
          <p:cNvPr id="10" name="TextBox 9">
            <a:extLst>
              <a:ext uri="{FF2B5EF4-FFF2-40B4-BE49-F238E27FC236}">
                <a16:creationId xmlns:a16="http://schemas.microsoft.com/office/drawing/2014/main" id="{CB5D12FB-FF24-4F81-84A8-B6855780FA57}"/>
              </a:ext>
            </a:extLst>
          </p:cNvPr>
          <p:cNvSpPr txBox="1"/>
          <p:nvPr/>
        </p:nvSpPr>
        <p:spPr>
          <a:xfrm>
            <a:off x="3217434" y="3236835"/>
            <a:ext cx="3871477" cy="1356716"/>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Data Purchasing and Licensing</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00B05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Business can leverage external data to  improve operations and supplement clinical insights</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When another LOB/department needs access to the same data, they often purchase the data again due to lack of discoverability</a:t>
            </a:r>
          </a:p>
        </p:txBody>
      </p:sp>
      <p:cxnSp>
        <p:nvCxnSpPr>
          <p:cNvPr id="11" name="Straight Connector 10"/>
          <p:cNvCxnSpPr/>
          <p:nvPr/>
        </p:nvCxnSpPr>
        <p:spPr>
          <a:xfrm>
            <a:off x="7395407" y="1442383"/>
            <a:ext cx="0" cy="442116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5745967-7367-4DAD-B714-7E64C7F7BAA4}"/>
              </a:ext>
            </a:extLst>
          </p:cNvPr>
          <p:cNvSpPr txBox="1"/>
          <p:nvPr/>
        </p:nvSpPr>
        <p:spPr>
          <a:xfrm>
            <a:off x="3217434" y="4765444"/>
            <a:ext cx="3994065" cy="1496210"/>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Data Intake</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00B05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Intake processes are flexible to ingest data in different formats from external providers</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Intake processes are resource intensive and do not capture or share an index or description on the data ingested (data on the data) which limits visibility to other potential consumers</a:t>
            </a:r>
            <a:endParaRPr lang="en-US" sz="1200" dirty="0">
              <a:solidFill>
                <a:schemeClr val="tx1">
                  <a:lumMod val="75000"/>
                  <a:lumOff val="25000"/>
                </a:schemeClr>
              </a:solidFill>
              <a:cs typeface="Arial" panose="020B0604020202020204" pitchFamily="34" charset="0"/>
              <a:sym typeface="Arial" panose="020B0604020202020204" pitchFamily="34" charset="0"/>
            </a:endParaRPr>
          </a:p>
          <a:p>
            <a:pPr marL="171399" indent="-171399" defTabSz="456621" fontAlgn="base">
              <a:spcBef>
                <a:spcPts val="300"/>
              </a:spcBef>
              <a:buClr>
                <a:srgbClr val="C00000"/>
              </a:buClr>
              <a:buFont typeface="Open Sans" panose="020B0606030504020204" pitchFamily="34" charset="0"/>
              <a:buChar cha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a:p>
            <a:pPr marL="171399" indent="-171399" defTabSz="456621" fontAlgn="base">
              <a:spcBef>
                <a:spcPts val="300"/>
              </a:spcBef>
              <a:buClr>
                <a:srgbClr val="C00000"/>
              </a:buClr>
              <a:buFont typeface="Open Sans" panose="020B0606030504020204" pitchFamily="34" charset="0"/>
              <a:buChar cha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p:txBody>
      </p:sp>
      <p:sp>
        <p:nvSpPr>
          <p:cNvPr id="13" name="TextBox 12">
            <a:extLst>
              <a:ext uri="{FF2B5EF4-FFF2-40B4-BE49-F238E27FC236}">
                <a16:creationId xmlns:a16="http://schemas.microsoft.com/office/drawing/2014/main" id="{CB5D12FB-FF24-4F81-84A8-B6855780FA57}"/>
              </a:ext>
            </a:extLst>
          </p:cNvPr>
          <p:cNvSpPr txBox="1"/>
          <p:nvPr/>
        </p:nvSpPr>
        <p:spPr>
          <a:xfrm>
            <a:off x="7689526" y="3236834"/>
            <a:ext cx="3871477" cy="1457714"/>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Data Search Capability</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No central data index service for internal consumers to automatically discover the data we own and license it for their business needs</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Current mechanism is manual / team specific and depends on tribal knowledge which does not provide a 360 degree and carries risk</a:t>
            </a:r>
            <a:endParaRPr lang="en-US" sz="1200" dirty="0">
              <a:solidFill>
                <a:schemeClr val="tx1">
                  <a:lumMod val="75000"/>
                  <a:lumOff val="25000"/>
                </a:schemeClr>
              </a:solidFill>
              <a:cs typeface="Open Sans Light"/>
            </a:endParaRPr>
          </a:p>
        </p:txBody>
      </p:sp>
      <p:sp>
        <p:nvSpPr>
          <p:cNvPr id="14" name="TextBox 13">
            <a:extLst>
              <a:ext uri="{FF2B5EF4-FFF2-40B4-BE49-F238E27FC236}">
                <a16:creationId xmlns:a16="http://schemas.microsoft.com/office/drawing/2014/main" id="{05745967-7367-4DAD-B714-7E64C7F7BAA4}"/>
              </a:ext>
            </a:extLst>
          </p:cNvPr>
          <p:cNvSpPr txBox="1"/>
          <p:nvPr/>
        </p:nvSpPr>
        <p:spPr>
          <a:xfrm>
            <a:off x="7671808" y="4737161"/>
            <a:ext cx="3871477" cy="1668828"/>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Data Governance</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Not having an external data registry presents a huge challenge to the data governance function</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Data Governance is not able to govern data they have no knowledge of</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No central data service to determine external data duplication across the board. Duplication rules are limited to an area which causes duplicate records to propagate </a:t>
            </a:r>
          </a:p>
        </p:txBody>
      </p:sp>
      <p:sp>
        <p:nvSpPr>
          <p:cNvPr id="15" name="Rectangle 14"/>
          <p:cNvSpPr/>
          <p:nvPr/>
        </p:nvSpPr>
        <p:spPr>
          <a:xfrm>
            <a:off x="6096000" y="6215778"/>
            <a:ext cx="1951619" cy="613854"/>
          </a:xfrm>
          <a:prstGeom prst="rect">
            <a:avLst/>
          </a:prstGeom>
        </p:spPr>
        <p:txBody>
          <a:bodyPr wrap="square">
            <a:spAutoFit/>
          </a:bodyPr>
          <a:lstStyle/>
          <a:p>
            <a:pPr marL="171399" indent="-171399" defTabSz="456621" fontAlgn="base">
              <a:lnSpc>
                <a:spcPts val="1999"/>
              </a:lnSpc>
              <a:buClr>
                <a:srgbClr val="00B050"/>
              </a:buClr>
              <a:buFont typeface="Open Sans" panose="020B0606030504020204" pitchFamily="34" charset="0"/>
              <a:buChar char="+"/>
            </a:pPr>
            <a:r>
              <a:rPr lang="en-US" b="1" dirty="0">
                <a:solidFill>
                  <a:schemeClr val="tx1">
                    <a:lumMod val="75000"/>
                    <a:lumOff val="25000"/>
                  </a:schemeClr>
                </a:solidFill>
                <a:cs typeface="Arial" panose="020B0604020202020204" pitchFamily="34" charset="0"/>
                <a:sym typeface="Arial" panose="020B0604020202020204" pitchFamily="34" charset="0"/>
              </a:rPr>
              <a:t> </a:t>
            </a:r>
            <a:r>
              <a:rPr lang="en-US" sz="1100" dirty="0">
                <a:solidFill>
                  <a:schemeClr val="tx1">
                    <a:lumMod val="75000"/>
                    <a:lumOff val="25000"/>
                  </a:schemeClr>
                </a:solidFill>
                <a:cs typeface="Arial" panose="020B0604020202020204" pitchFamily="34" charset="0"/>
                <a:sym typeface="Arial" panose="020B0604020202020204" pitchFamily="34" charset="0"/>
              </a:rPr>
              <a:t>= positive capability</a:t>
            </a:r>
          </a:p>
          <a:p>
            <a:pPr marL="171399" indent="-171399" defTabSz="456621" fontAlgn="base">
              <a:lnSpc>
                <a:spcPts val="1999"/>
              </a:lnSpc>
              <a:buClr>
                <a:srgbClr val="C00000"/>
              </a:buClr>
              <a:buFont typeface="Open Sans" panose="020B0606030504020204" pitchFamily="34" charset="0"/>
              <a:buChar char="–"/>
            </a:pPr>
            <a:r>
              <a:rPr lang="en-US" b="1" dirty="0">
                <a:solidFill>
                  <a:schemeClr val="tx1">
                    <a:lumMod val="75000"/>
                    <a:lumOff val="25000"/>
                  </a:schemeClr>
                </a:solidFill>
                <a:cs typeface="Arial" panose="020B0604020202020204" pitchFamily="34" charset="0"/>
                <a:sym typeface="Arial" panose="020B0604020202020204" pitchFamily="34" charset="0"/>
              </a:rPr>
              <a:t> </a:t>
            </a:r>
            <a:r>
              <a:rPr lang="en-US" sz="1100" dirty="0">
                <a:solidFill>
                  <a:schemeClr val="tx1">
                    <a:lumMod val="75000"/>
                    <a:lumOff val="25000"/>
                  </a:schemeClr>
                </a:solidFill>
                <a:cs typeface="Arial" panose="020B0604020202020204" pitchFamily="34" charset="0"/>
                <a:sym typeface="Arial" panose="020B0604020202020204" pitchFamily="34" charset="0"/>
              </a:rPr>
              <a:t>= negative capability</a:t>
            </a:r>
          </a:p>
        </p:txBody>
      </p:sp>
      <p:pic>
        <p:nvPicPr>
          <p:cNvPr id="17" name="Picture 16"/>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739990" y="3166117"/>
            <a:ext cx="271133" cy="279972"/>
          </a:xfrm>
          <a:prstGeom prst="rect">
            <a:avLst/>
          </a:prstGeom>
        </p:spPr>
      </p:pic>
      <p:pic>
        <p:nvPicPr>
          <p:cNvPr id="18" name="Picture 17"/>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335452" y="4664269"/>
            <a:ext cx="271133" cy="279972"/>
          </a:xfrm>
          <a:prstGeom prst="rect">
            <a:avLst/>
          </a:prstGeom>
        </p:spPr>
      </p:pic>
      <p:pic>
        <p:nvPicPr>
          <p:cNvPr id="19" name="Picture 18"/>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414378" y="3208922"/>
            <a:ext cx="271133" cy="279972"/>
          </a:xfrm>
          <a:prstGeom prst="rect">
            <a:avLst/>
          </a:prstGeom>
        </p:spPr>
      </p:pic>
      <p:pic>
        <p:nvPicPr>
          <p:cNvPr id="20" name="Picture 19"/>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614826" y="4708409"/>
            <a:ext cx="271133" cy="279972"/>
          </a:xfrm>
          <a:prstGeom prst="rect">
            <a:avLst/>
          </a:prstGeom>
        </p:spPr>
      </p:pic>
    </p:spTree>
    <p:extLst>
      <p:ext uri="{BB962C8B-B14F-4D97-AF65-F5344CB8AC3E}">
        <p14:creationId xmlns:p14="http://schemas.microsoft.com/office/powerpoint/2010/main" val="1285900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cs typeface="Arial" panose="020B0604020202020204" pitchFamily="34" charset="0"/>
                <a:sym typeface="Arial" panose="020B0604020202020204" pitchFamily="34" charset="0"/>
              </a:rPr>
              <a:t>What does Success look like?</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cs typeface="Arial" panose="020B0604020202020204" pitchFamily="34" charset="0"/>
                <a:sym typeface="Arial" panose="020B0604020202020204" pitchFamily="34" charset="0"/>
              </a:rPr>
              <a:t>In an ideal future state, CVS Health would have an index of external data to negotiate contracts that maximize value from data, and detect duplicate records to stop propagation</a:t>
            </a:r>
          </a:p>
        </p:txBody>
      </p:sp>
      <p:sp>
        <p:nvSpPr>
          <p:cNvPr id="5" name="Right Arrow 4"/>
          <p:cNvSpPr/>
          <p:nvPr/>
        </p:nvSpPr>
        <p:spPr>
          <a:xfrm>
            <a:off x="4511030" y="2585521"/>
            <a:ext cx="256638" cy="53249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6" name="Oval 5"/>
          <p:cNvSpPr/>
          <p:nvPr/>
        </p:nvSpPr>
        <p:spPr>
          <a:xfrm>
            <a:off x="3523605" y="2388125"/>
            <a:ext cx="1023300" cy="935735"/>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lumMod val="85000"/>
                    <a:lumOff val="15000"/>
                  </a:schemeClr>
                </a:solidFill>
                <a:cs typeface="Arial" panose="020B0604020202020204" pitchFamily="34" charset="0"/>
                <a:sym typeface="Arial" panose="020B0604020202020204" pitchFamily="34" charset="0"/>
              </a:rPr>
              <a:t>Manual and Duplicate</a:t>
            </a:r>
          </a:p>
        </p:txBody>
      </p:sp>
      <p:sp>
        <p:nvSpPr>
          <p:cNvPr id="7" name="Oval 6"/>
          <p:cNvSpPr/>
          <p:nvPr/>
        </p:nvSpPr>
        <p:spPr>
          <a:xfrm>
            <a:off x="4782312" y="2107549"/>
            <a:ext cx="1494919" cy="1496889"/>
          </a:xfrm>
          <a:prstGeom prst="ellips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b="1">
                <a:solidFill>
                  <a:schemeClr val="bg1"/>
                </a:solidFill>
                <a:cs typeface="Arial" panose="020B0604020202020204" pitchFamily="34" charset="0"/>
                <a:sym typeface="Arial" panose="020B0604020202020204" pitchFamily="34" charset="0"/>
              </a:rPr>
              <a:t>Automated and Streamlined</a:t>
            </a:r>
          </a:p>
        </p:txBody>
      </p:sp>
      <p:sp>
        <p:nvSpPr>
          <p:cNvPr id="8" name="Oval 7"/>
          <p:cNvSpPr/>
          <p:nvPr/>
        </p:nvSpPr>
        <p:spPr>
          <a:xfrm>
            <a:off x="7734109" y="2388124"/>
            <a:ext cx="1094319" cy="935735"/>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lumMod val="85000"/>
                    <a:lumOff val="15000"/>
                  </a:schemeClr>
                </a:solidFill>
                <a:cs typeface="Arial" panose="020B0604020202020204" pitchFamily="34" charset="0"/>
                <a:sym typeface="Arial" panose="020B0604020202020204" pitchFamily="34" charset="0"/>
              </a:rPr>
              <a:t>Siloed and Segmented</a:t>
            </a:r>
          </a:p>
        </p:txBody>
      </p:sp>
      <p:sp>
        <p:nvSpPr>
          <p:cNvPr id="9" name="Oval 8"/>
          <p:cNvSpPr/>
          <p:nvPr/>
        </p:nvSpPr>
        <p:spPr>
          <a:xfrm>
            <a:off x="9063313" y="2107549"/>
            <a:ext cx="1494919" cy="1496889"/>
          </a:xfrm>
          <a:prstGeom prst="ellips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137124" rIns="0" rtlCol="0" anchor="ctr"/>
          <a:lstStyle/>
          <a:p>
            <a:pPr algn="ctr"/>
            <a:r>
              <a:rPr lang="en-US" sz="1300" b="1">
                <a:solidFill>
                  <a:schemeClr val="bg1"/>
                </a:solidFill>
                <a:cs typeface="Arial" panose="020B0604020202020204" pitchFamily="34" charset="0"/>
                <a:sym typeface="Arial" panose="020B0604020202020204" pitchFamily="34" charset="0"/>
              </a:rPr>
              <a:t>Enterprise Wide</a:t>
            </a:r>
          </a:p>
        </p:txBody>
      </p:sp>
      <p:sp>
        <p:nvSpPr>
          <p:cNvPr id="10" name="TextBox 9"/>
          <p:cNvSpPr txBox="1"/>
          <p:nvPr/>
        </p:nvSpPr>
        <p:spPr>
          <a:xfrm>
            <a:off x="424842" y="2647943"/>
            <a:ext cx="1432449" cy="360236"/>
          </a:xfrm>
          <a:prstGeom prst="rect">
            <a:avLst/>
          </a:prstGeom>
          <a:noFill/>
        </p:spPr>
        <p:txBody>
          <a:bodyPr wrap="none" lIns="0" tIns="0" rIns="0" bIns="0" rtlCol="0" anchor="ctr">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Where we </a:t>
            </a:r>
            <a:br>
              <a:rPr lang="en-US" sz="1799" b="1">
                <a:solidFill>
                  <a:schemeClr val="accent1"/>
                </a:solidFill>
                <a:cs typeface="Arial" panose="020B0604020202020204" pitchFamily="34" charset="0"/>
                <a:sym typeface="Arial" panose="020B0604020202020204" pitchFamily="34" charset="0"/>
              </a:rPr>
            </a:br>
            <a:r>
              <a:rPr lang="en-US" sz="1799" b="1">
                <a:solidFill>
                  <a:schemeClr val="accent1"/>
                </a:solidFill>
                <a:cs typeface="Arial" panose="020B0604020202020204" pitchFamily="34" charset="0"/>
                <a:sym typeface="Arial" panose="020B0604020202020204" pitchFamily="34" charset="0"/>
              </a:rPr>
              <a:t>want to go</a:t>
            </a:r>
          </a:p>
        </p:txBody>
      </p:sp>
      <p:sp>
        <p:nvSpPr>
          <p:cNvPr id="11" name="Right Arrow 10"/>
          <p:cNvSpPr/>
          <p:nvPr/>
        </p:nvSpPr>
        <p:spPr>
          <a:xfrm>
            <a:off x="8799056" y="2561813"/>
            <a:ext cx="256638" cy="53249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2" name="Rectangle 11"/>
          <p:cNvSpPr/>
          <p:nvPr/>
        </p:nvSpPr>
        <p:spPr>
          <a:xfrm rot="20010059">
            <a:off x="3533567" y="2345989"/>
            <a:ext cx="1056731" cy="1012894"/>
          </a:xfrm>
          <a:prstGeom prst="rect">
            <a:avLst/>
          </a:prstGeom>
        </p:spPr>
        <p:txBody>
          <a:bodyPr wrap="none">
            <a:prstTxWarp prst="textArchUp">
              <a:avLst/>
            </a:prstTxWarp>
            <a:spAutoFit/>
          </a:bodyPr>
          <a:lstStyle/>
          <a:p>
            <a:pPr algn="ctr" defTabSz="798273" eaLnBrk="0" hangingPunct="0">
              <a:spcAft>
                <a:spcPts val="200"/>
              </a:spcAft>
              <a:defRPr/>
            </a:pPr>
            <a:r>
              <a:rPr lang="en-GB" sz="1100" kern="0">
                <a:solidFill>
                  <a:schemeClr val="tx1">
                    <a:lumMod val="75000"/>
                    <a:lumOff val="25000"/>
                  </a:schemeClr>
                </a:solidFill>
                <a:cs typeface="Arial" charset="0"/>
                <a:sym typeface="Arial" panose="020B0604020202020204" pitchFamily="34" charset="0"/>
              </a:rPr>
              <a:t>From…</a:t>
            </a:r>
          </a:p>
        </p:txBody>
      </p:sp>
      <p:sp>
        <p:nvSpPr>
          <p:cNvPr id="13" name="Rectangle 12"/>
          <p:cNvSpPr/>
          <p:nvPr/>
        </p:nvSpPr>
        <p:spPr>
          <a:xfrm rot="19270328">
            <a:off x="4990601" y="2041053"/>
            <a:ext cx="960666" cy="1348162"/>
          </a:xfrm>
          <a:prstGeom prst="rect">
            <a:avLst/>
          </a:prstGeom>
        </p:spPr>
        <p:txBody>
          <a:bodyPr wrap="none">
            <a:prstTxWarp prst="textArchUp">
              <a:avLst/>
            </a:prstTxWarp>
            <a:spAutoFit/>
          </a:bodyPr>
          <a:lstStyle/>
          <a:p>
            <a:pPr algn="ctr" defTabSz="798273" eaLnBrk="0" hangingPunct="0">
              <a:spcAft>
                <a:spcPts val="200"/>
              </a:spcAft>
              <a:defRPr/>
            </a:pPr>
            <a:r>
              <a:rPr lang="en-GB" sz="1100" kern="0">
                <a:solidFill>
                  <a:schemeClr val="accent1"/>
                </a:solidFill>
                <a:cs typeface="Arial" charset="0"/>
                <a:sym typeface="Arial" panose="020B0604020202020204" pitchFamily="34" charset="0"/>
              </a:rPr>
              <a:t>To…</a:t>
            </a:r>
          </a:p>
        </p:txBody>
      </p:sp>
      <p:sp>
        <p:nvSpPr>
          <p:cNvPr id="14" name="Rectangle 13"/>
          <p:cNvSpPr/>
          <p:nvPr/>
        </p:nvSpPr>
        <p:spPr>
          <a:xfrm rot="20010059">
            <a:off x="7824031" y="2345988"/>
            <a:ext cx="1056731" cy="1012894"/>
          </a:xfrm>
          <a:prstGeom prst="rect">
            <a:avLst/>
          </a:prstGeom>
        </p:spPr>
        <p:txBody>
          <a:bodyPr wrap="none">
            <a:prstTxWarp prst="textArchUp">
              <a:avLst/>
            </a:prstTxWarp>
            <a:spAutoFit/>
          </a:bodyPr>
          <a:lstStyle/>
          <a:p>
            <a:pPr algn="ctr" defTabSz="798273" eaLnBrk="0" hangingPunct="0">
              <a:spcAft>
                <a:spcPts val="200"/>
              </a:spcAft>
              <a:defRPr/>
            </a:pPr>
            <a:r>
              <a:rPr lang="en-GB" sz="1100" kern="0">
                <a:solidFill>
                  <a:schemeClr val="tx1">
                    <a:lumMod val="75000"/>
                    <a:lumOff val="25000"/>
                  </a:schemeClr>
                </a:solidFill>
                <a:cs typeface="Arial" charset="0"/>
                <a:sym typeface="Arial" panose="020B0604020202020204" pitchFamily="34" charset="0"/>
              </a:rPr>
              <a:t>From…</a:t>
            </a:r>
          </a:p>
        </p:txBody>
      </p:sp>
      <p:sp>
        <p:nvSpPr>
          <p:cNvPr id="15" name="Rectangle 14"/>
          <p:cNvSpPr/>
          <p:nvPr/>
        </p:nvSpPr>
        <p:spPr>
          <a:xfrm rot="19270328">
            <a:off x="9281064" y="2041052"/>
            <a:ext cx="960666" cy="1348162"/>
          </a:xfrm>
          <a:prstGeom prst="rect">
            <a:avLst/>
          </a:prstGeom>
        </p:spPr>
        <p:txBody>
          <a:bodyPr wrap="none">
            <a:prstTxWarp prst="textArchUp">
              <a:avLst/>
            </a:prstTxWarp>
            <a:spAutoFit/>
          </a:bodyPr>
          <a:lstStyle/>
          <a:p>
            <a:pPr algn="ctr" defTabSz="798273" eaLnBrk="0" hangingPunct="0">
              <a:spcAft>
                <a:spcPts val="200"/>
              </a:spcAft>
              <a:defRPr/>
            </a:pPr>
            <a:r>
              <a:rPr lang="en-GB" sz="1100" kern="0">
                <a:solidFill>
                  <a:schemeClr val="accent1"/>
                </a:solidFill>
                <a:cs typeface="Arial" charset="0"/>
                <a:sym typeface="Arial" panose="020B0604020202020204" pitchFamily="34" charset="0"/>
              </a:rPr>
              <a:t>To…</a:t>
            </a:r>
          </a:p>
        </p:txBody>
      </p:sp>
      <p:sp>
        <p:nvSpPr>
          <p:cNvPr id="16" name="TextBox 15">
            <a:extLst>
              <a:ext uri="{FF2B5EF4-FFF2-40B4-BE49-F238E27FC236}">
                <a16:creationId xmlns:a16="http://schemas.microsoft.com/office/drawing/2014/main" id="{CB5D12FB-FF24-4F81-84A8-B6855780FA57}"/>
              </a:ext>
            </a:extLst>
          </p:cNvPr>
          <p:cNvSpPr txBox="1"/>
          <p:nvPr/>
        </p:nvSpPr>
        <p:spPr>
          <a:xfrm>
            <a:off x="3042669" y="3736465"/>
            <a:ext cx="3980297" cy="1244935"/>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Data Purchasing and Licensing</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Purchase a set of external data only once and stop purchasing if the data is </a:t>
            </a:r>
            <a:r>
              <a:rPr lang="en-US" sz="1200" b="1" u="sng" dirty="0">
                <a:solidFill>
                  <a:schemeClr val="tx1">
                    <a:lumMod val="75000"/>
                    <a:lumOff val="25000"/>
                  </a:schemeClr>
                </a:solidFill>
                <a:cs typeface="Arial" panose="020B0604020202020204" pitchFamily="34" charset="0"/>
                <a:sym typeface="Arial" panose="020B0604020202020204" pitchFamily="34" charset="0"/>
              </a:rPr>
              <a:t>not</a:t>
            </a:r>
            <a:r>
              <a:rPr lang="en-US" sz="1200" b="1" dirty="0">
                <a:solidFill>
                  <a:schemeClr val="tx1">
                    <a:lumMod val="75000"/>
                    <a:lumOff val="25000"/>
                  </a:schemeClr>
                </a:solidFill>
                <a:cs typeface="Arial" panose="020B0604020202020204" pitchFamily="34" charset="0"/>
                <a:sym typeface="Arial" panose="020B0604020202020204" pitchFamily="34" charset="0"/>
              </a:rPr>
              <a:t> valuable</a:t>
            </a:r>
          </a:p>
          <a:p>
            <a:pPr marL="171399" indent="-171399" defTabSz="456621"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License the data purchased to different LOBs/departments where appropriate and as defined in the license agreement and by Legal</a:t>
            </a:r>
          </a:p>
        </p:txBody>
      </p:sp>
      <p:sp>
        <p:nvSpPr>
          <p:cNvPr id="17" name="TextBox 16">
            <a:extLst>
              <a:ext uri="{FF2B5EF4-FFF2-40B4-BE49-F238E27FC236}">
                <a16:creationId xmlns:a16="http://schemas.microsoft.com/office/drawing/2014/main" id="{05745967-7367-4DAD-B714-7E64C7F7BAA4}"/>
              </a:ext>
            </a:extLst>
          </p:cNvPr>
          <p:cNvSpPr txBox="1"/>
          <p:nvPr/>
        </p:nvSpPr>
        <p:spPr>
          <a:xfrm>
            <a:off x="3042669" y="5044414"/>
            <a:ext cx="3871477" cy="1131726"/>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Data Intake</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Intake processes would capture and populate an index or description on the data ingested </a:t>
            </a:r>
          </a:p>
          <a:p>
            <a:pPr marL="171399" indent="-171399" defTabSz="456621"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Single source of truth for each specific set of data, where allowed. Improve management and oversight of duplicate records.</a:t>
            </a:r>
            <a:endParaRPr lang="en-US" sz="1200" b="1" dirty="0">
              <a:solidFill>
                <a:schemeClr val="tx1">
                  <a:lumMod val="75000"/>
                  <a:lumOff val="25000"/>
                </a:schemeClr>
              </a:solidFill>
              <a:highlight>
                <a:srgbClr val="FFFF00"/>
              </a:highlight>
              <a:cs typeface="Arial" panose="020B0604020202020204" pitchFamily="34" charset="0"/>
              <a:sym typeface="Arial" panose="020B0604020202020204" pitchFamily="34" charset="0"/>
            </a:endParaRPr>
          </a:p>
        </p:txBody>
      </p:sp>
      <p:cxnSp>
        <p:nvCxnSpPr>
          <p:cNvPr id="18" name="Straight Connector 17"/>
          <p:cNvCxnSpPr/>
          <p:nvPr/>
        </p:nvCxnSpPr>
        <p:spPr>
          <a:xfrm>
            <a:off x="7096846" y="1942014"/>
            <a:ext cx="0" cy="442116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9" name="Freeform 4969"/>
          <p:cNvSpPr>
            <a:spLocks noEditPoints="1"/>
          </p:cNvSpPr>
          <p:nvPr/>
        </p:nvSpPr>
        <p:spPr bwMode="auto">
          <a:xfrm>
            <a:off x="3614371" y="3708316"/>
            <a:ext cx="199180" cy="179771"/>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GB" sz="1799">
              <a:cs typeface="Arial" panose="020B0604020202020204" pitchFamily="34" charset="0"/>
              <a:sym typeface="Arial" panose="020B0604020202020204" pitchFamily="34" charset="0"/>
            </a:endParaRPr>
          </a:p>
        </p:txBody>
      </p:sp>
      <p:sp>
        <p:nvSpPr>
          <p:cNvPr id="20" name="Freeform 4969"/>
          <p:cNvSpPr>
            <a:spLocks noEditPoints="1"/>
          </p:cNvSpPr>
          <p:nvPr/>
        </p:nvSpPr>
        <p:spPr bwMode="auto">
          <a:xfrm>
            <a:off x="4117327" y="5022991"/>
            <a:ext cx="199180" cy="179771"/>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GB" sz="1799">
              <a:cs typeface="Arial" panose="020B0604020202020204" pitchFamily="34" charset="0"/>
              <a:sym typeface="Arial" panose="020B0604020202020204" pitchFamily="34" charset="0"/>
            </a:endParaRPr>
          </a:p>
        </p:txBody>
      </p:sp>
      <p:sp>
        <p:nvSpPr>
          <p:cNvPr id="21" name="Rectangle 20"/>
          <p:cNvSpPr/>
          <p:nvPr/>
        </p:nvSpPr>
        <p:spPr>
          <a:xfrm>
            <a:off x="3474878" y="1687430"/>
            <a:ext cx="2898102" cy="677108"/>
          </a:xfrm>
          <a:prstGeom prst="rect">
            <a:avLst/>
          </a:prstGeom>
        </p:spPr>
        <p:txBody>
          <a:bodyPr wrap="none">
            <a:spAutoFit/>
          </a:bodyPr>
          <a:lstStyle/>
          <a:p>
            <a:pPr algn="ctr" defTabSz="456621" fontAlgn="base">
              <a:spcBef>
                <a:spcPts val="1200"/>
              </a:spcBef>
              <a:defRPr/>
            </a:pPr>
            <a:r>
              <a:rPr lang="en-US" sz="1400">
                <a:solidFill>
                  <a:srgbClr val="414141"/>
                </a:solidFill>
                <a:cs typeface="Arial" panose="020B0604020202020204" pitchFamily="34" charset="0"/>
                <a:sym typeface="Arial" panose="020B0604020202020204" pitchFamily="34" charset="0"/>
              </a:rPr>
              <a:t>External Data Intake and Storage</a:t>
            </a:r>
          </a:p>
          <a:p>
            <a:pPr algn="ctr" defTabSz="456621" fontAlgn="base">
              <a:spcBef>
                <a:spcPts val="1200"/>
              </a:spcBef>
              <a:defRPr/>
            </a:pPr>
            <a:endParaRPr lang="en-US" sz="1400">
              <a:solidFill>
                <a:srgbClr val="414141"/>
              </a:solidFill>
              <a:cs typeface="Arial" panose="020B0604020202020204" pitchFamily="34" charset="0"/>
              <a:sym typeface="Arial" panose="020B0604020202020204" pitchFamily="34" charset="0"/>
            </a:endParaRPr>
          </a:p>
        </p:txBody>
      </p:sp>
      <p:sp>
        <p:nvSpPr>
          <p:cNvPr id="22" name="Rectangle 21"/>
          <p:cNvSpPr/>
          <p:nvPr/>
        </p:nvSpPr>
        <p:spPr>
          <a:xfrm>
            <a:off x="7441250" y="1687430"/>
            <a:ext cx="3540521" cy="307777"/>
          </a:xfrm>
          <a:prstGeom prst="rect">
            <a:avLst/>
          </a:prstGeom>
        </p:spPr>
        <p:txBody>
          <a:bodyPr wrap="none">
            <a:spAutoFit/>
          </a:bodyPr>
          <a:lstStyle/>
          <a:p>
            <a:pPr algn="ctr" defTabSz="456621" fontAlgn="base">
              <a:spcBef>
                <a:spcPts val="1200"/>
              </a:spcBef>
              <a:defRPr/>
            </a:pPr>
            <a:r>
              <a:rPr lang="en-US" sz="1400">
                <a:solidFill>
                  <a:srgbClr val="414141"/>
                </a:solidFill>
                <a:cs typeface="Arial" panose="020B0604020202020204" pitchFamily="34" charset="0"/>
                <a:sym typeface="Arial" panose="020B0604020202020204" pitchFamily="34" charset="0"/>
              </a:rPr>
              <a:t>External Data Discoverability and Re-use</a:t>
            </a:r>
          </a:p>
        </p:txBody>
      </p:sp>
      <p:sp>
        <p:nvSpPr>
          <p:cNvPr id="23" name="TextBox 22">
            <a:extLst>
              <a:ext uri="{FF2B5EF4-FFF2-40B4-BE49-F238E27FC236}">
                <a16:creationId xmlns:a16="http://schemas.microsoft.com/office/drawing/2014/main" id="{CB5D12FB-FF24-4F81-84A8-B6855780FA57}"/>
              </a:ext>
            </a:extLst>
          </p:cNvPr>
          <p:cNvSpPr txBox="1"/>
          <p:nvPr/>
        </p:nvSpPr>
        <p:spPr>
          <a:xfrm>
            <a:off x="7308198" y="3746484"/>
            <a:ext cx="3871477" cy="914162"/>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Data Search Capability</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New central index where internal consumers can discover descriptive data on all external data we own </a:t>
            </a:r>
            <a:endParaRPr lang="en-US" sz="1200" b="1" dirty="0">
              <a:solidFill>
                <a:schemeClr val="tx1">
                  <a:lumMod val="75000"/>
                  <a:lumOff val="25000"/>
                </a:schemeClr>
              </a:solidFill>
              <a:highlight>
                <a:srgbClr val="FFFF00"/>
              </a:highlight>
              <a:cs typeface="Arial" panose="020B0604020202020204" pitchFamily="34" charset="0"/>
              <a:sym typeface="Arial" panose="020B0604020202020204" pitchFamily="34" charset="0"/>
            </a:endParaRPr>
          </a:p>
          <a:p>
            <a:pPr marL="171399" indent="-171399" defTabSz="456621"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New process to request access to this external data by the business unit or department</a:t>
            </a:r>
          </a:p>
        </p:txBody>
      </p:sp>
      <p:sp>
        <p:nvSpPr>
          <p:cNvPr id="24" name="TextBox 23">
            <a:extLst>
              <a:ext uri="{FF2B5EF4-FFF2-40B4-BE49-F238E27FC236}">
                <a16:creationId xmlns:a16="http://schemas.microsoft.com/office/drawing/2014/main" id="{05745967-7367-4DAD-B714-7E64C7F7BAA4}"/>
              </a:ext>
            </a:extLst>
          </p:cNvPr>
          <p:cNvSpPr txBox="1"/>
          <p:nvPr/>
        </p:nvSpPr>
        <p:spPr>
          <a:xfrm>
            <a:off x="7308198" y="5022990"/>
            <a:ext cx="3871477" cy="1525800"/>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Data Governance</a:t>
            </a:r>
            <a:endParaRPr lang="en-US" sz="1200" dirty="0">
              <a:solidFill>
                <a:schemeClr val="accent1"/>
              </a:solidFill>
              <a:cs typeface="Arial" panose="020B0604020202020204" pitchFamily="34" charset="0"/>
              <a:sym typeface="Arial" panose="020B0604020202020204" pitchFamily="34" charset="0"/>
            </a:endParaRPr>
          </a:p>
          <a:p>
            <a:pPr marL="171450" indent="-171450" defTabSz="456621"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Governance model owned by the CDO’s team for the creation and maintenance of this Enterprise-wide external data index</a:t>
            </a:r>
          </a:p>
          <a:p>
            <a:pPr marL="171450" indent="-171450" defTabSz="456621" fontAlgn="base">
              <a:spcBef>
                <a:spcPts val="300"/>
              </a:spcBef>
              <a:buFont typeface="Arial" panose="020B0604020202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New central data index service to determine external data duplication across the board</a:t>
            </a:r>
          </a:p>
        </p:txBody>
      </p:sp>
      <p:sp>
        <p:nvSpPr>
          <p:cNvPr id="25" name="Freeform 4969"/>
          <p:cNvSpPr>
            <a:spLocks noEditPoints="1"/>
          </p:cNvSpPr>
          <p:nvPr/>
        </p:nvSpPr>
        <p:spPr bwMode="auto">
          <a:xfrm>
            <a:off x="8110791" y="3736466"/>
            <a:ext cx="199180" cy="179771"/>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GB" sz="1799">
              <a:cs typeface="Arial" panose="020B0604020202020204" pitchFamily="34" charset="0"/>
              <a:sym typeface="Arial" panose="020B0604020202020204" pitchFamily="34" charset="0"/>
            </a:endParaRPr>
          </a:p>
        </p:txBody>
      </p:sp>
      <p:sp>
        <p:nvSpPr>
          <p:cNvPr id="26" name="Freeform 4969"/>
          <p:cNvSpPr>
            <a:spLocks noEditPoints="1"/>
          </p:cNvSpPr>
          <p:nvPr/>
        </p:nvSpPr>
        <p:spPr bwMode="auto">
          <a:xfrm>
            <a:off x="8382856" y="5001567"/>
            <a:ext cx="199180" cy="179771"/>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GB" sz="1799">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165178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A63C0-F91A-4580-9756-F242EB4C4268}"/>
              </a:ext>
            </a:extLst>
          </p:cNvPr>
          <p:cNvSpPr>
            <a:spLocks noGrp="1"/>
          </p:cNvSpPr>
          <p:nvPr>
            <p:ph type="title"/>
          </p:nvPr>
        </p:nvSpPr>
        <p:spPr/>
        <p:txBody>
          <a:bodyPr/>
          <a:lstStyle/>
          <a:p>
            <a:r>
              <a:rPr lang="en-US" dirty="0"/>
              <a:t>External Data Index Service vs. Collibra Data Catalog</a:t>
            </a:r>
          </a:p>
        </p:txBody>
      </p:sp>
      <p:sp>
        <p:nvSpPr>
          <p:cNvPr id="5" name="TextBox 4">
            <a:extLst>
              <a:ext uri="{FF2B5EF4-FFF2-40B4-BE49-F238E27FC236}">
                <a16:creationId xmlns:a16="http://schemas.microsoft.com/office/drawing/2014/main" id="{0FA35FCA-3101-4E2A-A3B0-E5FB0842D61A}"/>
              </a:ext>
            </a:extLst>
          </p:cNvPr>
          <p:cNvSpPr txBox="1"/>
          <p:nvPr/>
        </p:nvSpPr>
        <p:spPr>
          <a:xfrm>
            <a:off x="557212" y="5810243"/>
            <a:ext cx="11103744" cy="307777"/>
          </a:xfrm>
          <a:prstGeom prst="rect">
            <a:avLst/>
          </a:prstGeom>
          <a:noFill/>
        </p:spPr>
        <p:txBody>
          <a:bodyPr wrap="square" lIns="0" tIns="0" rIns="0" bIns="0" rtlCol="0">
            <a:spAutoFit/>
          </a:bodyPr>
          <a:lstStyle/>
          <a:p>
            <a:r>
              <a:rPr lang="en-US" sz="1000" b="1" dirty="0">
                <a:solidFill>
                  <a:schemeClr val="tx2"/>
                </a:solidFill>
              </a:rPr>
              <a:t>* This </a:t>
            </a:r>
            <a:r>
              <a:rPr lang="en-US" sz="1000" b="1" dirty="0" err="1">
                <a:solidFill>
                  <a:schemeClr val="tx2"/>
                </a:solidFill>
              </a:rPr>
              <a:t>PoV</a:t>
            </a:r>
            <a:r>
              <a:rPr lang="en-US" sz="1000" b="1" dirty="0">
                <a:solidFill>
                  <a:schemeClr val="tx2"/>
                </a:solidFill>
              </a:rPr>
              <a:t> does not imply that every area is required to scan data through EDIS, but that we are making it available for any business area, repositories, the data platform, operational systems, externally sourced data, etc. regardless of where the data will be ultimately sourced from</a:t>
            </a:r>
          </a:p>
        </p:txBody>
      </p:sp>
      <p:sp>
        <p:nvSpPr>
          <p:cNvPr id="6" name="Content Placeholder 5">
            <a:extLst>
              <a:ext uri="{FF2B5EF4-FFF2-40B4-BE49-F238E27FC236}">
                <a16:creationId xmlns:a16="http://schemas.microsoft.com/office/drawing/2014/main" id="{D1B3242B-E028-4709-AAAD-C08CAAB3106B}"/>
              </a:ext>
            </a:extLst>
          </p:cNvPr>
          <p:cNvSpPr>
            <a:spLocks noGrp="1"/>
          </p:cNvSpPr>
          <p:nvPr>
            <p:ph idx="1"/>
          </p:nvPr>
        </p:nvSpPr>
        <p:spPr>
          <a:xfrm>
            <a:off x="557929" y="1720397"/>
            <a:ext cx="11076859" cy="3343278"/>
          </a:xfrm>
        </p:spPr>
        <p:txBody>
          <a:bodyPr/>
          <a:lstStyle/>
          <a:p>
            <a:endParaRPr lang="en-US" dirty="0"/>
          </a:p>
        </p:txBody>
      </p:sp>
      <p:graphicFrame>
        <p:nvGraphicFramePr>
          <p:cNvPr id="7" name="Table 6">
            <a:extLst>
              <a:ext uri="{FF2B5EF4-FFF2-40B4-BE49-F238E27FC236}">
                <a16:creationId xmlns:a16="http://schemas.microsoft.com/office/drawing/2014/main" id="{76CCF4A6-E904-42DA-9A31-5DA01D415FE9}"/>
              </a:ext>
            </a:extLst>
          </p:cNvPr>
          <p:cNvGraphicFramePr>
            <a:graphicFrameLocks noGrp="1"/>
          </p:cNvGraphicFramePr>
          <p:nvPr>
            <p:extLst>
              <p:ext uri="{D42A27DB-BD31-4B8C-83A1-F6EECF244321}">
                <p14:modId xmlns:p14="http://schemas.microsoft.com/office/powerpoint/2010/main" val="1206917895"/>
              </p:ext>
            </p:extLst>
          </p:nvPr>
        </p:nvGraphicFramePr>
        <p:xfrm>
          <a:off x="557211" y="1720397"/>
          <a:ext cx="11076859" cy="3973369"/>
        </p:xfrm>
        <a:graphic>
          <a:graphicData uri="http://schemas.openxmlformats.org/drawingml/2006/table">
            <a:tbl>
              <a:tblPr firstRow="1" firstCol="1" bandRow="1">
                <a:tableStyleId>{5C22544A-7EE6-4342-B048-85BDC9FD1C3A}</a:tableStyleId>
              </a:tblPr>
              <a:tblGrid>
                <a:gridCol w="1309689">
                  <a:extLst>
                    <a:ext uri="{9D8B030D-6E8A-4147-A177-3AD203B41FA5}">
                      <a16:colId xmlns:a16="http://schemas.microsoft.com/office/drawing/2014/main" val="3755342275"/>
                    </a:ext>
                  </a:extLst>
                </a:gridCol>
                <a:gridCol w="5143500">
                  <a:extLst>
                    <a:ext uri="{9D8B030D-6E8A-4147-A177-3AD203B41FA5}">
                      <a16:colId xmlns:a16="http://schemas.microsoft.com/office/drawing/2014/main" val="2725674364"/>
                    </a:ext>
                  </a:extLst>
                </a:gridCol>
                <a:gridCol w="4623670">
                  <a:extLst>
                    <a:ext uri="{9D8B030D-6E8A-4147-A177-3AD203B41FA5}">
                      <a16:colId xmlns:a16="http://schemas.microsoft.com/office/drawing/2014/main" val="1491231811"/>
                    </a:ext>
                  </a:extLst>
                </a:gridCol>
              </a:tblGrid>
              <a:tr h="955849">
                <a:tc>
                  <a:txBody>
                    <a:bodyPr/>
                    <a:lstStyle/>
                    <a:p>
                      <a:pPr marL="0" marR="0">
                        <a:spcBef>
                          <a:spcPts val="0"/>
                        </a:spcBef>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solidFill>
                      <a:schemeClr val="bg1"/>
                    </a:solidFill>
                  </a:tcPr>
                </a:tc>
                <a:tc>
                  <a:txBody>
                    <a:bodyPr/>
                    <a:lstStyle/>
                    <a:p>
                      <a:pPr marL="0" marR="0">
                        <a:spcBef>
                          <a:spcPts val="0"/>
                        </a:spcBef>
                        <a:spcAft>
                          <a:spcPts val="0"/>
                        </a:spcAft>
                      </a:pPr>
                      <a:r>
                        <a:rPr lang="en-US" sz="1800" dirty="0">
                          <a:effectLst/>
                        </a:rPr>
                        <a:t>External Data Index Service (EDIS)</a:t>
                      </a:r>
                      <a:endParaRPr lang="en-US" sz="1800" dirty="0">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800" dirty="0">
                          <a:effectLst/>
                        </a:rPr>
                        <a:t>Data Catalog (e.g. Collibra)</a:t>
                      </a:r>
                      <a:endParaRPr lang="en-US" sz="18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437323589"/>
                  </a:ext>
                </a:extLst>
              </a:tr>
              <a:tr h="92039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100" b="1" dirty="0"/>
                        <a:t>Scope</a:t>
                      </a:r>
                    </a:p>
                    <a:p>
                      <a:pPr marL="0" marR="0" algn="r">
                        <a:spcBef>
                          <a:spcPts val="0"/>
                        </a:spcBef>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r>
                        <a:rPr lang="en-US" sz="1200" dirty="0"/>
                        <a:t>Externally acquired data where there is reasonable cause to believe there are redundancies with other external sources, whether that data is intended to be brought into the Data Platform or not. (For example: </a:t>
                      </a:r>
                      <a:r>
                        <a:rPr lang="en-US" sz="1200"/>
                        <a:t>HEDIS, Gaps in Care, or </a:t>
                      </a:r>
                      <a:r>
                        <a:rPr lang="en-US" sz="1200" dirty="0"/>
                        <a:t>both acquiring data from multiple sources for the same members.)</a:t>
                      </a:r>
                    </a:p>
                  </a:txBody>
                  <a:tcPr/>
                </a:tc>
                <a:tc>
                  <a:txBody>
                    <a:bodyPr/>
                    <a:lstStyle/>
                    <a:p>
                      <a:r>
                        <a:rPr lang="en-US" sz="1200" b="0" dirty="0"/>
                        <a:t>Data that is ingested into the data platform or is planned to be brought in.</a:t>
                      </a:r>
                    </a:p>
                  </a:txBody>
                  <a:tcPr/>
                </a:tc>
                <a:extLst>
                  <a:ext uri="{0D108BD9-81ED-4DB2-BD59-A6C34878D82A}">
                    <a16:rowId xmlns:a16="http://schemas.microsoft.com/office/drawing/2014/main" val="3889351417"/>
                  </a:ext>
                </a:extLst>
              </a:tr>
              <a:tr h="912078">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100" b="1" dirty="0"/>
                        <a:t>Purpose</a:t>
                      </a: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r>
                        <a:rPr lang="en-US" sz="1200" kern="1200" dirty="0">
                          <a:solidFill>
                            <a:schemeClr val="dk1"/>
                          </a:solidFill>
                          <a:effectLst/>
                          <a:latin typeface="+mn-lt"/>
                          <a:ea typeface="+mn-ea"/>
                          <a:cs typeface="+mn-cs"/>
                        </a:rPr>
                        <a:t>Provides a mechanism to record specifics about the people and activities about which we purchase data and compare to previous data we have purchased to determine if we are getting value or spending money on content we already have at a granular person and event/activity level.</a:t>
                      </a:r>
                      <a:endParaRPr lang="en-US" sz="1200" dirty="0"/>
                    </a:p>
                  </a:txBody>
                  <a:tcPr/>
                </a:tc>
                <a:tc>
                  <a:txBody>
                    <a:bodyPr/>
                    <a:lstStyle/>
                    <a:p>
                      <a:r>
                        <a:rPr lang="en-US" sz="1200" b="0" dirty="0"/>
                        <a:t>Provides visibility into what type of data we have available for consumption in the Data Platform and characteristics about that data to help consumers understand and work with the underlying data.</a:t>
                      </a:r>
                    </a:p>
                  </a:txBody>
                  <a:tcPr/>
                </a:tc>
                <a:extLst>
                  <a:ext uri="{0D108BD9-81ED-4DB2-BD59-A6C34878D82A}">
                    <a16:rowId xmlns:a16="http://schemas.microsoft.com/office/drawing/2014/main" val="3633546033"/>
                  </a:ext>
                </a:extLst>
              </a:tr>
              <a:tr h="761402">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100" b="1" dirty="0"/>
                        <a:t>Type of Data Stored</a:t>
                      </a:r>
                    </a:p>
                    <a:p>
                      <a:pPr marL="0" marR="0" algn="r">
                        <a:spcBef>
                          <a:spcPts val="0"/>
                        </a:spcBef>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r>
                        <a:rPr lang="en-US" sz="1200" dirty="0"/>
                        <a:t>Granular record level keys for entities (member, patient, provider, etc.) and activities (procedure, encounter, etc.) for each record being indexed, as well as the source of the data and what it is being used for.</a:t>
                      </a:r>
                    </a:p>
                  </a:txBody>
                  <a:tcPr/>
                </a:tc>
                <a:tc>
                  <a:txBody>
                    <a:bodyPr/>
                    <a:lstStyle/>
                    <a:p>
                      <a:r>
                        <a:rPr lang="en-US" sz="1200" dirty="0"/>
                        <a:t>Generic content type / metadata describing the structure and format information about the ingested data and lineage information. </a:t>
                      </a:r>
                    </a:p>
                    <a:p>
                      <a:r>
                        <a:rPr lang="en-US" sz="1200" dirty="0"/>
                        <a:t>Does not provide record level content other than the ability to view sample data.</a:t>
                      </a:r>
                    </a:p>
                  </a:txBody>
                  <a:tcPr/>
                </a:tc>
                <a:extLst>
                  <a:ext uri="{0D108BD9-81ED-4DB2-BD59-A6C34878D82A}">
                    <a16:rowId xmlns:a16="http://schemas.microsoft.com/office/drawing/2014/main" val="3119497275"/>
                  </a:ext>
                </a:extLst>
              </a:tr>
            </a:tbl>
          </a:graphicData>
        </a:graphic>
      </p:graphicFrame>
    </p:spTree>
    <p:extLst>
      <p:ext uri="{BB962C8B-B14F-4D97-AF65-F5344CB8AC3E}">
        <p14:creationId xmlns:p14="http://schemas.microsoft.com/office/powerpoint/2010/main" val="15468327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Rectangle 201">
            <a:extLst>
              <a:ext uri="{FF2B5EF4-FFF2-40B4-BE49-F238E27FC236}">
                <a16:creationId xmlns:a16="http://schemas.microsoft.com/office/drawing/2014/main" id="{B5CA336B-A1BF-4871-8150-E9B291B6724C}"/>
              </a:ext>
            </a:extLst>
          </p:cNvPr>
          <p:cNvSpPr/>
          <p:nvPr/>
        </p:nvSpPr>
        <p:spPr bwMode="gray">
          <a:xfrm>
            <a:off x="6642480" y="1758684"/>
            <a:ext cx="4570645" cy="3215658"/>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2" name="Title 1">
            <a:extLst>
              <a:ext uri="{FF2B5EF4-FFF2-40B4-BE49-F238E27FC236}">
                <a16:creationId xmlns:a16="http://schemas.microsoft.com/office/drawing/2014/main" id="{EEB2DB48-F55E-46AE-9540-691925464E4C}"/>
              </a:ext>
            </a:extLst>
          </p:cNvPr>
          <p:cNvSpPr>
            <a:spLocks noGrp="1"/>
          </p:cNvSpPr>
          <p:nvPr>
            <p:ph type="title"/>
          </p:nvPr>
        </p:nvSpPr>
        <p:spPr/>
        <p:txBody>
          <a:bodyPr/>
          <a:lstStyle/>
          <a:p>
            <a:r>
              <a:rPr lang="en-US" dirty="0"/>
              <a:t>CVSH External Data Intake - Current State</a:t>
            </a:r>
          </a:p>
        </p:txBody>
      </p:sp>
      <p:cxnSp>
        <p:nvCxnSpPr>
          <p:cNvPr id="4" name="Straight Arrow Connector 3">
            <a:extLst>
              <a:ext uri="{FF2B5EF4-FFF2-40B4-BE49-F238E27FC236}">
                <a16:creationId xmlns:a16="http://schemas.microsoft.com/office/drawing/2014/main" id="{EEF197D6-422C-4476-9AAB-134C0BB2E24F}"/>
              </a:ext>
            </a:extLst>
          </p:cNvPr>
          <p:cNvCxnSpPr/>
          <p:nvPr/>
        </p:nvCxnSpPr>
        <p:spPr>
          <a:xfrm>
            <a:off x="15086465" y="5706763"/>
            <a:ext cx="633864" cy="0"/>
          </a:xfrm>
          <a:prstGeom prst="straightConnector1">
            <a:avLst/>
          </a:prstGeom>
          <a:ln w="12700" cmpd="sng">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7F2776A2-55FA-4901-8D56-61F7EDBF5378}"/>
              </a:ext>
            </a:extLst>
          </p:cNvPr>
          <p:cNvCxnSpPr>
            <a:cxnSpLocks/>
            <a:stCxn id="32" idx="3"/>
            <a:endCxn id="16" idx="2"/>
          </p:cNvCxnSpPr>
          <p:nvPr/>
        </p:nvCxnSpPr>
        <p:spPr>
          <a:xfrm>
            <a:off x="8481566" y="2333682"/>
            <a:ext cx="858322" cy="243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7" name="Straight Arrow Connector 46">
            <a:extLst>
              <a:ext uri="{FF2B5EF4-FFF2-40B4-BE49-F238E27FC236}">
                <a16:creationId xmlns:a16="http://schemas.microsoft.com/office/drawing/2014/main" id="{027D99D2-D61F-43DD-88D9-A764AB3F4C74}"/>
              </a:ext>
            </a:extLst>
          </p:cNvPr>
          <p:cNvCxnSpPr>
            <a:cxnSpLocks/>
            <a:stCxn id="33" idx="3"/>
            <a:endCxn id="45" idx="2"/>
          </p:cNvCxnSpPr>
          <p:nvPr/>
        </p:nvCxnSpPr>
        <p:spPr>
          <a:xfrm>
            <a:off x="8481566" y="3394922"/>
            <a:ext cx="877906" cy="563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6" name="Flowchart: Magnetic Disk 15">
            <a:extLst>
              <a:ext uri="{FF2B5EF4-FFF2-40B4-BE49-F238E27FC236}">
                <a16:creationId xmlns:a16="http://schemas.microsoft.com/office/drawing/2014/main" id="{0A6DB9FC-2790-49F5-96BC-671A635F376F}"/>
              </a:ext>
            </a:extLst>
          </p:cNvPr>
          <p:cNvSpPr/>
          <p:nvPr/>
        </p:nvSpPr>
        <p:spPr bwMode="gray">
          <a:xfrm>
            <a:off x="9339888" y="2043179"/>
            <a:ext cx="1122664" cy="58586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AHM ODS</a:t>
            </a:r>
          </a:p>
        </p:txBody>
      </p:sp>
      <p:sp>
        <p:nvSpPr>
          <p:cNvPr id="32" name="Rectangle: Rounded Corners 31">
            <a:extLst>
              <a:ext uri="{FF2B5EF4-FFF2-40B4-BE49-F238E27FC236}">
                <a16:creationId xmlns:a16="http://schemas.microsoft.com/office/drawing/2014/main" id="{C23CAF40-5081-4672-BB4F-CE5D10092D0A}"/>
              </a:ext>
            </a:extLst>
          </p:cNvPr>
          <p:cNvSpPr/>
          <p:nvPr/>
        </p:nvSpPr>
        <p:spPr bwMode="gray">
          <a:xfrm>
            <a:off x="7422604" y="2112821"/>
            <a:ext cx="1058962"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AHDI ETL</a:t>
            </a:r>
          </a:p>
        </p:txBody>
      </p:sp>
      <p:sp>
        <p:nvSpPr>
          <p:cNvPr id="33" name="Rectangle: Rounded Corners 32">
            <a:extLst>
              <a:ext uri="{FF2B5EF4-FFF2-40B4-BE49-F238E27FC236}">
                <a16:creationId xmlns:a16="http://schemas.microsoft.com/office/drawing/2014/main" id="{EA2C1C74-8715-4291-B19D-B1A652C9088A}"/>
              </a:ext>
            </a:extLst>
          </p:cNvPr>
          <p:cNvSpPr/>
          <p:nvPr/>
        </p:nvSpPr>
        <p:spPr bwMode="gray">
          <a:xfrm>
            <a:off x="7422604" y="3174061"/>
            <a:ext cx="1058962"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EDW ETL</a:t>
            </a:r>
          </a:p>
        </p:txBody>
      </p:sp>
      <p:sp>
        <p:nvSpPr>
          <p:cNvPr id="45" name="Flowchart: Magnetic Disk 44">
            <a:extLst>
              <a:ext uri="{FF2B5EF4-FFF2-40B4-BE49-F238E27FC236}">
                <a16:creationId xmlns:a16="http://schemas.microsoft.com/office/drawing/2014/main" id="{3343FEFB-7C1D-4798-BA26-F401C7045C50}"/>
              </a:ext>
            </a:extLst>
          </p:cNvPr>
          <p:cNvSpPr/>
          <p:nvPr/>
        </p:nvSpPr>
        <p:spPr bwMode="gray">
          <a:xfrm>
            <a:off x="9359472" y="3107621"/>
            <a:ext cx="1122664" cy="58586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EDW</a:t>
            </a:r>
          </a:p>
          <a:p>
            <a:pPr algn="ctr"/>
            <a:r>
              <a:rPr lang="en-US" sz="1200">
                <a:solidFill>
                  <a:schemeClr val="bg1"/>
                </a:solidFill>
              </a:rPr>
              <a:t>External</a:t>
            </a:r>
          </a:p>
        </p:txBody>
      </p:sp>
      <p:sp>
        <p:nvSpPr>
          <p:cNvPr id="12" name="Rectangle: Rounded Corners 11">
            <a:extLst>
              <a:ext uri="{FF2B5EF4-FFF2-40B4-BE49-F238E27FC236}">
                <a16:creationId xmlns:a16="http://schemas.microsoft.com/office/drawing/2014/main" id="{FE80D894-D049-4249-89C3-2CB429A7EF23}"/>
              </a:ext>
            </a:extLst>
          </p:cNvPr>
          <p:cNvSpPr/>
          <p:nvPr/>
        </p:nvSpPr>
        <p:spPr bwMode="gray">
          <a:xfrm>
            <a:off x="3352172" y="1074314"/>
            <a:ext cx="1036501" cy="432407"/>
          </a:xfrm>
          <a:prstGeom prst="roundRect">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a:solidFill>
                  <a:schemeClr val="tx2"/>
                </a:solidFill>
              </a:rPr>
              <a:t>Reference</a:t>
            </a:r>
          </a:p>
          <a:p>
            <a:pPr algn="ctr"/>
            <a:r>
              <a:rPr lang="en-US" sz="900" b="1" dirty="0">
                <a:solidFill>
                  <a:schemeClr val="tx2"/>
                </a:solidFill>
              </a:rPr>
              <a:t>Data</a:t>
            </a:r>
          </a:p>
        </p:txBody>
      </p:sp>
      <p:sp>
        <p:nvSpPr>
          <p:cNvPr id="14" name="Oval 13">
            <a:extLst>
              <a:ext uri="{FF2B5EF4-FFF2-40B4-BE49-F238E27FC236}">
                <a16:creationId xmlns:a16="http://schemas.microsoft.com/office/drawing/2014/main" id="{F6B3E33B-279A-4B57-A0C7-AFD4CB2BA78F}"/>
              </a:ext>
            </a:extLst>
          </p:cNvPr>
          <p:cNvSpPr/>
          <p:nvPr/>
        </p:nvSpPr>
        <p:spPr bwMode="gray">
          <a:xfrm>
            <a:off x="1295712" y="1056835"/>
            <a:ext cx="1199634" cy="521454"/>
          </a:xfrm>
          <a:prstGeom prst="ellipse">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a:solidFill>
                  <a:schemeClr val="tx2"/>
                </a:solidFill>
              </a:rPr>
              <a:t>External </a:t>
            </a:r>
          </a:p>
          <a:p>
            <a:pPr algn="ctr"/>
            <a:r>
              <a:rPr lang="en-US" sz="900" b="1" dirty="0">
                <a:solidFill>
                  <a:schemeClr val="tx2"/>
                </a:solidFill>
              </a:rPr>
              <a:t>Data</a:t>
            </a:r>
          </a:p>
        </p:txBody>
      </p:sp>
      <p:cxnSp>
        <p:nvCxnSpPr>
          <p:cNvPr id="20" name="Connector: Elbow 19">
            <a:extLst>
              <a:ext uri="{FF2B5EF4-FFF2-40B4-BE49-F238E27FC236}">
                <a16:creationId xmlns:a16="http://schemas.microsoft.com/office/drawing/2014/main" id="{348D7C3F-B83C-43A8-9D28-CCC9C4BBB069}"/>
              </a:ext>
            </a:extLst>
          </p:cNvPr>
          <p:cNvCxnSpPr>
            <a:cxnSpLocks/>
            <a:stCxn id="8" idx="2"/>
            <a:endCxn id="7" idx="1"/>
          </p:cNvCxnSpPr>
          <p:nvPr/>
        </p:nvCxnSpPr>
        <p:spPr>
          <a:xfrm rot="16200000" flipH="1">
            <a:off x="1871480" y="2687670"/>
            <a:ext cx="235824" cy="5766"/>
          </a:xfrm>
          <a:prstGeom prst="bentConnector3">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a:extLst>
              <a:ext uri="{FF2B5EF4-FFF2-40B4-BE49-F238E27FC236}">
                <a16:creationId xmlns:a16="http://schemas.microsoft.com/office/drawing/2014/main" id="{241AE13A-CC4B-4DEF-B58D-790536D65968}"/>
              </a:ext>
            </a:extLst>
          </p:cNvPr>
          <p:cNvCxnSpPr>
            <a:cxnSpLocks/>
          </p:cNvCxnSpPr>
          <p:nvPr/>
        </p:nvCxnSpPr>
        <p:spPr>
          <a:xfrm flipH="1">
            <a:off x="1610766" y="1560868"/>
            <a:ext cx="2373" cy="61732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8FEF314A-9932-4F10-8E0C-6B6DF5F71CD9}"/>
              </a:ext>
            </a:extLst>
          </p:cNvPr>
          <p:cNvCxnSpPr>
            <a:cxnSpLocks/>
            <a:stCxn id="10" idx="0"/>
            <a:endCxn id="9" idx="2"/>
          </p:cNvCxnSpPr>
          <p:nvPr/>
        </p:nvCxnSpPr>
        <p:spPr>
          <a:xfrm flipV="1">
            <a:off x="3416806" y="2572641"/>
            <a:ext cx="0" cy="3358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44" name="Group 43">
            <a:extLst>
              <a:ext uri="{FF2B5EF4-FFF2-40B4-BE49-F238E27FC236}">
                <a16:creationId xmlns:a16="http://schemas.microsoft.com/office/drawing/2014/main" id="{309C656C-07A6-4CB9-A6F1-98F2437FD1D2}"/>
              </a:ext>
            </a:extLst>
          </p:cNvPr>
          <p:cNvGrpSpPr/>
          <p:nvPr/>
        </p:nvGrpSpPr>
        <p:grpSpPr>
          <a:xfrm>
            <a:off x="1192708" y="1767852"/>
            <a:ext cx="3088134" cy="1687711"/>
            <a:chOff x="370959" y="1801606"/>
            <a:chExt cx="2446689" cy="1515775"/>
          </a:xfrm>
        </p:grpSpPr>
        <p:sp>
          <p:nvSpPr>
            <p:cNvPr id="6" name="Rectangle 5">
              <a:extLst>
                <a:ext uri="{FF2B5EF4-FFF2-40B4-BE49-F238E27FC236}">
                  <a16:creationId xmlns:a16="http://schemas.microsoft.com/office/drawing/2014/main" id="{46EE6365-81AD-4FCA-A5B9-4F4D0C586289}"/>
                </a:ext>
              </a:extLst>
            </p:cNvPr>
            <p:cNvSpPr/>
            <p:nvPr/>
          </p:nvSpPr>
          <p:spPr bwMode="gray">
            <a:xfrm>
              <a:off x="370959" y="1801606"/>
              <a:ext cx="2446689" cy="1515775"/>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7" name="Flowchart: Magnetic Disk 6">
              <a:extLst>
                <a:ext uri="{FF2B5EF4-FFF2-40B4-BE49-F238E27FC236}">
                  <a16:creationId xmlns:a16="http://schemas.microsoft.com/office/drawing/2014/main" id="{CBBEE985-DFA9-4335-84E8-9CC49B0EB534}"/>
                </a:ext>
              </a:extLst>
            </p:cNvPr>
            <p:cNvSpPr/>
            <p:nvPr/>
          </p:nvSpPr>
          <p:spPr bwMode="gray">
            <a:xfrm>
              <a:off x="635618" y="2736206"/>
              <a:ext cx="737655" cy="469867"/>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a:solidFill>
                    <a:schemeClr val="bg1"/>
                  </a:solidFill>
                </a:rPr>
                <a:t>Raw</a:t>
              </a:r>
            </a:p>
            <a:p>
              <a:pPr algn="ctr"/>
              <a:r>
                <a:rPr lang="en-US" sz="1000">
                  <a:solidFill>
                    <a:schemeClr val="bg1"/>
                  </a:solidFill>
                </a:rPr>
                <a:t>Data</a:t>
              </a:r>
            </a:p>
          </p:txBody>
        </p:sp>
        <p:sp>
          <p:nvSpPr>
            <p:cNvPr id="8" name="Rectangle: Rounded Corners 7">
              <a:extLst>
                <a:ext uri="{FF2B5EF4-FFF2-40B4-BE49-F238E27FC236}">
                  <a16:creationId xmlns:a16="http://schemas.microsoft.com/office/drawing/2014/main" id="{0AEC7480-7499-442D-9B7F-9286FAFB0818}"/>
                </a:ext>
              </a:extLst>
            </p:cNvPr>
            <p:cNvSpPr/>
            <p:nvPr/>
          </p:nvSpPr>
          <p:spPr bwMode="gray">
            <a:xfrm>
              <a:off x="551200" y="2170145"/>
              <a:ext cx="897354" cy="354262"/>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Ingest</a:t>
              </a:r>
            </a:p>
          </p:txBody>
        </p:sp>
        <p:sp>
          <p:nvSpPr>
            <p:cNvPr id="9" name="Rectangle: Rounded Corners 8">
              <a:extLst>
                <a:ext uri="{FF2B5EF4-FFF2-40B4-BE49-F238E27FC236}">
                  <a16:creationId xmlns:a16="http://schemas.microsoft.com/office/drawing/2014/main" id="{AD31964D-E5E9-49A2-B1C4-DFCAC54C0BAF}"/>
                </a:ext>
              </a:extLst>
            </p:cNvPr>
            <p:cNvSpPr/>
            <p:nvPr/>
          </p:nvSpPr>
          <p:spPr bwMode="gray">
            <a:xfrm>
              <a:off x="1684406" y="2170145"/>
              <a:ext cx="897354" cy="354262"/>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Curation</a:t>
              </a:r>
            </a:p>
          </p:txBody>
        </p:sp>
        <p:sp>
          <p:nvSpPr>
            <p:cNvPr id="10" name="Rectangle: Rounded Corners 9">
              <a:extLst>
                <a:ext uri="{FF2B5EF4-FFF2-40B4-BE49-F238E27FC236}">
                  <a16:creationId xmlns:a16="http://schemas.microsoft.com/office/drawing/2014/main" id="{EE9C9ED5-ABCE-4FDB-86CF-FDFC75DD74BD}"/>
                </a:ext>
              </a:extLst>
            </p:cNvPr>
            <p:cNvSpPr/>
            <p:nvPr/>
          </p:nvSpPr>
          <p:spPr bwMode="gray">
            <a:xfrm>
              <a:off x="1684406" y="2825997"/>
              <a:ext cx="897354" cy="354262"/>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Rules</a:t>
              </a:r>
            </a:p>
            <a:p>
              <a:pPr algn="ctr"/>
              <a:r>
                <a:rPr lang="en-US" sz="1000" dirty="0">
                  <a:solidFill>
                    <a:schemeClr val="bg1"/>
                  </a:solidFill>
                </a:rPr>
                <a:t>Libraries</a:t>
              </a:r>
            </a:p>
          </p:txBody>
        </p:sp>
        <p:sp>
          <p:nvSpPr>
            <p:cNvPr id="36" name="TextBox 35">
              <a:extLst>
                <a:ext uri="{FF2B5EF4-FFF2-40B4-BE49-F238E27FC236}">
                  <a16:creationId xmlns:a16="http://schemas.microsoft.com/office/drawing/2014/main" id="{B1C07FB1-E4F7-46B0-9153-B6C0A2878CC2}"/>
                </a:ext>
              </a:extLst>
            </p:cNvPr>
            <p:cNvSpPr txBox="1"/>
            <p:nvPr/>
          </p:nvSpPr>
          <p:spPr>
            <a:xfrm>
              <a:off x="682824" y="1861030"/>
              <a:ext cx="1881925" cy="169277"/>
            </a:xfrm>
            <a:prstGeom prst="rect">
              <a:avLst/>
            </a:prstGeom>
            <a:noFill/>
          </p:spPr>
          <p:txBody>
            <a:bodyPr wrap="none" lIns="0" tIns="0" rIns="0" bIns="0" rtlCol="0">
              <a:spAutoFit/>
            </a:bodyPr>
            <a:lstStyle/>
            <a:p>
              <a:r>
                <a:rPr lang="en-US" sz="1100" b="1" dirty="0">
                  <a:solidFill>
                    <a:schemeClr val="tx2"/>
                  </a:solidFill>
                </a:rPr>
                <a:t>Siloed External  Data Intake</a:t>
              </a:r>
            </a:p>
          </p:txBody>
        </p:sp>
      </p:grpSp>
      <p:cxnSp>
        <p:nvCxnSpPr>
          <p:cNvPr id="65" name="Straight Arrow Connector 64">
            <a:extLst>
              <a:ext uri="{FF2B5EF4-FFF2-40B4-BE49-F238E27FC236}">
                <a16:creationId xmlns:a16="http://schemas.microsoft.com/office/drawing/2014/main" id="{9F79DEE4-32EB-4954-BB88-47EAFD90F0F2}"/>
              </a:ext>
            </a:extLst>
          </p:cNvPr>
          <p:cNvCxnSpPr>
            <a:cxnSpLocks/>
          </p:cNvCxnSpPr>
          <p:nvPr/>
        </p:nvCxnSpPr>
        <p:spPr>
          <a:xfrm>
            <a:off x="2921321" y="1533980"/>
            <a:ext cx="0" cy="644215"/>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5" name="Straight Arrow Connector 24">
            <a:extLst>
              <a:ext uri="{FF2B5EF4-FFF2-40B4-BE49-F238E27FC236}">
                <a16:creationId xmlns:a16="http://schemas.microsoft.com/office/drawing/2014/main" id="{0FD92F1F-404B-4B75-922F-DC7CBDD99712}"/>
              </a:ext>
            </a:extLst>
          </p:cNvPr>
          <p:cNvCxnSpPr>
            <a:cxnSpLocks/>
            <a:stCxn id="12" idx="2"/>
          </p:cNvCxnSpPr>
          <p:nvPr/>
        </p:nvCxnSpPr>
        <p:spPr>
          <a:xfrm flipH="1">
            <a:off x="3868223" y="1506721"/>
            <a:ext cx="2200" cy="67147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217" name="Group 216">
            <a:extLst>
              <a:ext uri="{FF2B5EF4-FFF2-40B4-BE49-F238E27FC236}">
                <a16:creationId xmlns:a16="http://schemas.microsoft.com/office/drawing/2014/main" id="{9E5C4412-7EC4-487F-854E-0A306D3FA7D8}"/>
              </a:ext>
            </a:extLst>
          </p:cNvPr>
          <p:cNvGrpSpPr/>
          <p:nvPr/>
        </p:nvGrpSpPr>
        <p:grpSpPr>
          <a:xfrm>
            <a:off x="2859025" y="1033941"/>
            <a:ext cx="233661" cy="486772"/>
            <a:chOff x="3427413" y="4927600"/>
            <a:chExt cx="292100" cy="600075"/>
          </a:xfrm>
          <a:solidFill>
            <a:schemeClr val="accent2"/>
          </a:solidFill>
        </p:grpSpPr>
        <p:sp>
          <p:nvSpPr>
            <p:cNvPr id="218" name="Freeform 34">
              <a:extLst>
                <a:ext uri="{FF2B5EF4-FFF2-40B4-BE49-F238E27FC236}">
                  <a16:creationId xmlns:a16="http://schemas.microsoft.com/office/drawing/2014/main" id="{4885E0D4-E026-4EE0-830D-94AB21A59C92}"/>
                </a:ext>
              </a:extLst>
            </p:cNvPr>
            <p:cNvSpPr>
              <a:spLocks/>
            </p:cNvSpPr>
            <p:nvPr/>
          </p:nvSpPr>
          <p:spPr bwMode="auto">
            <a:xfrm>
              <a:off x="3548063" y="5235575"/>
              <a:ext cx="55563" cy="55563"/>
            </a:xfrm>
            <a:custGeom>
              <a:avLst/>
              <a:gdLst>
                <a:gd name="T0" fmla="*/ 9 w 10"/>
                <a:gd name="T1" fmla="*/ 8 h 10"/>
                <a:gd name="T2" fmla="*/ 9 w 10"/>
                <a:gd name="T3" fmla="*/ 8 h 10"/>
                <a:gd name="T4" fmla="*/ 9 w 10"/>
                <a:gd name="T5" fmla="*/ 8 h 10"/>
                <a:gd name="T6" fmla="*/ 10 w 10"/>
                <a:gd name="T7" fmla="*/ 7 h 10"/>
                <a:gd name="T8" fmla="*/ 10 w 10"/>
                <a:gd name="T9" fmla="*/ 7 h 10"/>
                <a:gd name="T10" fmla="*/ 10 w 10"/>
                <a:gd name="T11" fmla="*/ 7 h 10"/>
                <a:gd name="T12" fmla="*/ 10 w 10"/>
                <a:gd name="T13" fmla="*/ 4 h 10"/>
                <a:gd name="T14" fmla="*/ 6 w 10"/>
                <a:gd name="T15" fmla="*/ 0 h 10"/>
                <a:gd name="T16" fmla="*/ 3 w 10"/>
                <a:gd name="T17" fmla="*/ 0 h 10"/>
                <a:gd name="T18" fmla="*/ 0 w 10"/>
                <a:gd name="T19" fmla="*/ 4 h 10"/>
                <a:gd name="T20" fmla="*/ 0 w 10"/>
                <a:gd name="T21" fmla="*/ 7 h 10"/>
                <a:gd name="T22" fmla="*/ 0 w 10"/>
                <a:gd name="T23" fmla="*/ 7 h 10"/>
                <a:gd name="T24" fmla="*/ 0 w 10"/>
                <a:gd name="T25" fmla="*/ 7 h 10"/>
                <a:gd name="T26" fmla="*/ 0 w 10"/>
                <a:gd name="T27" fmla="*/ 8 h 10"/>
                <a:gd name="T28" fmla="*/ 0 w 10"/>
                <a:gd name="T29" fmla="*/ 8 h 10"/>
                <a:gd name="T30" fmla="*/ 0 w 10"/>
                <a:gd name="T31" fmla="*/ 8 h 10"/>
                <a:gd name="T32" fmla="*/ 0 w 10"/>
                <a:gd name="T33" fmla="*/ 9 h 10"/>
                <a:gd name="T34" fmla="*/ 0 w 10"/>
                <a:gd name="T35" fmla="*/ 9 h 10"/>
                <a:gd name="T36" fmla="*/ 1 w 10"/>
                <a:gd name="T37" fmla="*/ 9 h 10"/>
                <a:gd name="T38" fmla="*/ 1 w 10"/>
                <a:gd name="T39" fmla="*/ 9 h 10"/>
                <a:gd name="T40" fmla="*/ 1 w 10"/>
                <a:gd name="T41" fmla="*/ 10 h 10"/>
                <a:gd name="T42" fmla="*/ 2 w 10"/>
                <a:gd name="T43" fmla="*/ 10 h 10"/>
                <a:gd name="T44" fmla="*/ 3 w 10"/>
                <a:gd name="T45" fmla="*/ 10 h 10"/>
                <a:gd name="T46" fmla="*/ 3 w 10"/>
                <a:gd name="T47" fmla="*/ 10 h 10"/>
                <a:gd name="T48" fmla="*/ 6 w 10"/>
                <a:gd name="T49" fmla="*/ 10 h 10"/>
                <a:gd name="T50" fmla="*/ 7 w 10"/>
                <a:gd name="T51" fmla="*/ 10 h 10"/>
                <a:gd name="T52" fmla="*/ 8 w 10"/>
                <a:gd name="T53" fmla="*/ 10 h 10"/>
                <a:gd name="T54" fmla="*/ 8 w 10"/>
                <a:gd name="T55" fmla="*/ 10 h 10"/>
                <a:gd name="T56" fmla="*/ 8 w 10"/>
                <a:gd name="T57" fmla="*/ 9 h 10"/>
                <a:gd name="T58" fmla="*/ 8 w 10"/>
                <a:gd name="T59" fmla="*/ 9 h 10"/>
                <a:gd name="T60" fmla="*/ 9 w 10"/>
                <a:gd name="T61" fmla="*/ 9 h 10"/>
                <a:gd name="T62" fmla="*/ 9 w 10"/>
                <a:gd name="T63" fmla="*/ 9 h 10"/>
                <a:gd name="T64" fmla="*/ 9 w 10"/>
                <a:gd name="T6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0">
                  <a:moveTo>
                    <a:pt x="9" y="8"/>
                  </a:moveTo>
                  <a:cubicBezTo>
                    <a:pt x="9" y="8"/>
                    <a:pt x="9" y="8"/>
                    <a:pt x="9" y="8"/>
                  </a:cubicBezTo>
                  <a:cubicBezTo>
                    <a:pt x="9" y="8"/>
                    <a:pt x="9" y="8"/>
                    <a:pt x="9" y="8"/>
                  </a:cubicBezTo>
                  <a:cubicBezTo>
                    <a:pt x="9" y="8"/>
                    <a:pt x="9" y="8"/>
                    <a:pt x="10" y="7"/>
                  </a:cubicBezTo>
                  <a:cubicBezTo>
                    <a:pt x="10" y="7"/>
                    <a:pt x="10" y="7"/>
                    <a:pt x="10" y="7"/>
                  </a:cubicBezTo>
                  <a:cubicBezTo>
                    <a:pt x="10" y="7"/>
                    <a:pt x="10" y="7"/>
                    <a:pt x="10" y="7"/>
                  </a:cubicBezTo>
                  <a:cubicBezTo>
                    <a:pt x="10" y="4"/>
                    <a:pt x="10" y="4"/>
                    <a:pt x="10" y="4"/>
                  </a:cubicBezTo>
                  <a:cubicBezTo>
                    <a:pt x="10" y="2"/>
                    <a:pt x="8" y="0"/>
                    <a:pt x="6" y="0"/>
                  </a:cubicBezTo>
                  <a:cubicBezTo>
                    <a:pt x="3" y="0"/>
                    <a:pt x="3" y="0"/>
                    <a:pt x="3" y="0"/>
                  </a:cubicBezTo>
                  <a:cubicBezTo>
                    <a:pt x="1" y="0"/>
                    <a:pt x="0" y="2"/>
                    <a:pt x="0" y="4"/>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1" y="9"/>
                    <a:pt x="1" y="9"/>
                    <a:pt x="1" y="9"/>
                  </a:cubicBezTo>
                  <a:cubicBezTo>
                    <a:pt x="1" y="9"/>
                    <a:pt x="1" y="9"/>
                    <a:pt x="1" y="9"/>
                  </a:cubicBezTo>
                  <a:cubicBezTo>
                    <a:pt x="1" y="10"/>
                    <a:pt x="1" y="10"/>
                    <a:pt x="1" y="10"/>
                  </a:cubicBezTo>
                  <a:cubicBezTo>
                    <a:pt x="2" y="10"/>
                    <a:pt x="2" y="10"/>
                    <a:pt x="2" y="10"/>
                  </a:cubicBezTo>
                  <a:cubicBezTo>
                    <a:pt x="2" y="10"/>
                    <a:pt x="2" y="10"/>
                    <a:pt x="3" y="10"/>
                  </a:cubicBezTo>
                  <a:cubicBezTo>
                    <a:pt x="3" y="10"/>
                    <a:pt x="3" y="10"/>
                    <a:pt x="3" y="10"/>
                  </a:cubicBezTo>
                  <a:cubicBezTo>
                    <a:pt x="6" y="10"/>
                    <a:pt x="6" y="10"/>
                    <a:pt x="6" y="10"/>
                  </a:cubicBezTo>
                  <a:cubicBezTo>
                    <a:pt x="6" y="10"/>
                    <a:pt x="6" y="10"/>
                    <a:pt x="7" y="10"/>
                  </a:cubicBezTo>
                  <a:cubicBezTo>
                    <a:pt x="7" y="10"/>
                    <a:pt x="7" y="10"/>
                    <a:pt x="8" y="10"/>
                  </a:cubicBezTo>
                  <a:cubicBezTo>
                    <a:pt x="8" y="10"/>
                    <a:pt x="8" y="10"/>
                    <a:pt x="8" y="10"/>
                  </a:cubicBezTo>
                  <a:cubicBezTo>
                    <a:pt x="8" y="10"/>
                    <a:pt x="8" y="10"/>
                    <a:pt x="8" y="9"/>
                  </a:cubicBezTo>
                  <a:cubicBezTo>
                    <a:pt x="8" y="9"/>
                    <a:pt x="8" y="9"/>
                    <a:pt x="8" y="9"/>
                  </a:cubicBezTo>
                  <a:cubicBezTo>
                    <a:pt x="8" y="9"/>
                    <a:pt x="9" y="9"/>
                    <a:pt x="9" y="9"/>
                  </a:cubicBezTo>
                  <a:cubicBezTo>
                    <a:pt x="9" y="9"/>
                    <a:pt x="9" y="9"/>
                    <a:pt x="9" y="9"/>
                  </a:cubicBezTo>
                  <a:cubicBezTo>
                    <a:pt x="9" y="9"/>
                    <a:pt x="9" y="8"/>
                    <a:pt x="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219" name="Oval 35">
              <a:extLst>
                <a:ext uri="{FF2B5EF4-FFF2-40B4-BE49-F238E27FC236}">
                  <a16:creationId xmlns:a16="http://schemas.microsoft.com/office/drawing/2014/main" id="{C86CD5BA-9336-46BA-AB72-0ED5CC47E610}"/>
                </a:ext>
              </a:extLst>
            </p:cNvPr>
            <p:cNvSpPr>
              <a:spLocks noChangeArrowheads="1"/>
            </p:cNvSpPr>
            <p:nvPr/>
          </p:nvSpPr>
          <p:spPr bwMode="auto">
            <a:xfrm>
              <a:off x="3427413" y="4927600"/>
              <a:ext cx="292100" cy="29210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220" name="Freeform 36">
              <a:extLst>
                <a:ext uri="{FF2B5EF4-FFF2-40B4-BE49-F238E27FC236}">
                  <a16:creationId xmlns:a16="http://schemas.microsoft.com/office/drawing/2014/main" id="{72F32D43-1626-425D-B770-7523AEA819FA}"/>
                </a:ext>
              </a:extLst>
            </p:cNvPr>
            <p:cNvSpPr>
              <a:spLocks noEditPoints="1"/>
            </p:cNvSpPr>
            <p:nvPr/>
          </p:nvSpPr>
          <p:spPr bwMode="auto">
            <a:xfrm>
              <a:off x="3427413" y="5251450"/>
              <a:ext cx="292100" cy="276225"/>
            </a:xfrm>
            <a:custGeom>
              <a:avLst/>
              <a:gdLst>
                <a:gd name="T0" fmla="*/ 53 w 53"/>
                <a:gd name="T1" fmla="*/ 21 h 50"/>
                <a:gd name="T2" fmla="*/ 43 w 53"/>
                <a:gd name="T3" fmla="*/ 0 h 50"/>
                <a:gd name="T4" fmla="*/ 30 w 53"/>
                <a:gd name="T5" fmla="*/ 16 h 50"/>
                <a:gd name="T6" fmla="*/ 29 w 53"/>
                <a:gd name="T7" fmla="*/ 9 h 50"/>
                <a:gd name="T8" fmla="*/ 28 w 53"/>
                <a:gd name="T9" fmla="*/ 9 h 50"/>
                <a:gd name="T10" fmla="*/ 25 w 53"/>
                <a:gd name="T11" fmla="*/ 9 h 50"/>
                <a:gd name="T12" fmla="*/ 24 w 53"/>
                <a:gd name="T13" fmla="*/ 9 h 50"/>
                <a:gd name="T14" fmla="*/ 23 w 53"/>
                <a:gd name="T15" fmla="*/ 16 h 50"/>
                <a:gd name="T16" fmla="*/ 10 w 53"/>
                <a:gd name="T17" fmla="*/ 0 h 50"/>
                <a:gd name="T18" fmla="*/ 0 w 53"/>
                <a:gd name="T19" fmla="*/ 21 h 50"/>
                <a:gd name="T20" fmla="*/ 0 w 53"/>
                <a:gd name="T21" fmla="*/ 21 h 50"/>
                <a:gd name="T22" fmla="*/ 0 w 53"/>
                <a:gd name="T23" fmla="*/ 50 h 50"/>
                <a:gd name="T24" fmla="*/ 53 w 53"/>
                <a:gd name="T25" fmla="*/ 50 h 50"/>
                <a:gd name="T26" fmla="*/ 53 w 53"/>
                <a:gd name="T27" fmla="*/ 21 h 50"/>
                <a:gd name="T28" fmla="*/ 47 w 53"/>
                <a:gd name="T29" fmla="*/ 27 h 50"/>
                <a:gd name="T30" fmla="*/ 33 w 53"/>
                <a:gd name="T31" fmla="*/ 27 h 50"/>
                <a:gd name="T32" fmla="*/ 33 w 53"/>
                <a:gd name="T33" fmla="*/ 24 h 50"/>
                <a:gd name="T34" fmla="*/ 47 w 53"/>
                <a:gd name="T35" fmla="*/ 24 h 50"/>
                <a:gd name="T36" fmla="*/ 47 w 53"/>
                <a:gd name="T37" fmla="*/ 26 h 50"/>
                <a:gd name="T38" fmla="*/ 47 w 53"/>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50">
                  <a:moveTo>
                    <a:pt x="53" y="21"/>
                  </a:moveTo>
                  <a:cubicBezTo>
                    <a:pt x="53" y="12"/>
                    <a:pt x="49" y="5"/>
                    <a:pt x="43" y="0"/>
                  </a:cubicBezTo>
                  <a:cubicBezTo>
                    <a:pt x="30" y="16"/>
                    <a:pt x="30" y="16"/>
                    <a:pt x="30" y="16"/>
                  </a:cubicBezTo>
                  <a:cubicBezTo>
                    <a:pt x="29" y="9"/>
                    <a:pt x="29" y="9"/>
                    <a:pt x="29" y="9"/>
                  </a:cubicBezTo>
                  <a:cubicBezTo>
                    <a:pt x="29" y="9"/>
                    <a:pt x="28" y="9"/>
                    <a:pt x="28" y="9"/>
                  </a:cubicBezTo>
                  <a:cubicBezTo>
                    <a:pt x="25" y="9"/>
                    <a:pt x="25" y="9"/>
                    <a:pt x="25" y="9"/>
                  </a:cubicBezTo>
                  <a:cubicBezTo>
                    <a:pt x="25" y="9"/>
                    <a:pt x="24" y="9"/>
                    <a:pt x="24" y="9"/>
                  </a:cubicBezTo>
                  <a:cubicBezTo>
                    <a:pt x="23" y="16"/>
                    <a:pt x="23" y="16"/>
                    <a:pt x="23" y="16"/>
                  </a:cubicBezTo>
                  <a:cubicBezTo>
                    <a:pt x="10" y="0"/>
                    <a:pt x="10" y="0"/>
                    <a:pt x="10" y="0"/>
                  </a:cubicBezTo>
                  <a:cubicBezTo>
                    <a:pt x="4" y="5"/>
                    <a:pt x="0" y="12"/>
                    <a:pt x="0" y="21"/>
                  </a:cubicBezTo>
                  <a:cubicBezTo>
                    <a:pt x="0" y="21"/>
                    <a:pt x="0" y="21"/>
                    <a:pt x="0" y="21"/>
                  </a:cubicBezTo>
                  <a:cubicBezTo>
                    <a:pt x="0" y="50"/>
                    <a:pt x="0" y="50"/>
                    <a:pt x="0" y="50"/>
                  </a:cubicBezTo>
                  <a:cubicBezTo>
                    <a:pt x="53" y="50"/>
                    <a:pt x="53" y="50"/>
                    <a:pt x="53" y="50"/>
                  </a:cubicBezTo>
                  <a:cubicBezTo>
                    <a:pt x="53" y="21"/>
                    <a:pt x="53" y="21"/>
                    <a:pt x="53" y="21"/>
                  </a:cubicBezTo>
                  <a:close/>
                  <a:moveTo>
                    <a:pt x="47" y="27"/>
                  </a:moveTo>
                  <a:cubicBezTo>
                    <a:pt x="33" y="27"/>
                    <a:pt x="33" y="27"/>
                    <a:pt x="33" y="27"/>
                  </a:cubicBezTo>
                  <a:cubicBezTo>
                    <a:pt x="33" y="24"/>
                    <a:pt x="33" y="24"/>
                    <a:pt x="33" y="24"/>
                  </a:cubicBezTo>
                  <a:cubicBezTo>
                    <a:pt x="47" y="24"/>
                    <a:pt x="47" y="24"/>
                    <a:pt x="47" y="24"/>
                  </a:cubicBezTo>
                  <a:cubicBezTo>
                    <a:pt x="47" y="26"/>
                    <a:pt x="47" y="26"/>
                    <a:pt x="47" y="26"/>
                  </a:cubicBezTo>
                  <a:lnTo>
                    <a:pt x="47" y="27"/>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51" name="TextBox 50">
            <a:extLst>
              <a:ext uri="{FF2B5EF4-FFF2-40B4-BE49-F238E27FC236}">
                <a16:creationId xmlns:a16="http://schemas.microsoft.com/office/drawing/2014/main" id="{7C2DA789-4AEE-438D-B6B0-82E1F6EC2C72}"/>
              </a:ext>
            </a:extLst>
          </p:cNvPr>
          <p:cNvSpPr txBox="1"/>
          <p:nvPr/>
        </p:nvSpPr>
        <p:spPr>
          <a:xfrm>
            <a:off x="8056655" y="1515492"/>
            <a:ext cx="2067874" cy="200055"/>
          </a:xfrm>
          <a:prstGeom prst="rect">
            <a:avLst/>
          </a:prstGeom>
          <a:noFill/>
        </p:spPr>
        <p:txBody>
          <a:bodyPr wrap="none" lIns="0" tIns="0" rIns="0" bIns="0" rtlCol="0">
            <a:spAutoFit/>
          </a:bodyPr>
          <a:lstStyle/>
          <a:p>
            <a:r>
              <a:rPr lang="en-US" sz="1300" b="1" dirty="0">
                <a:solidFill>
                  <a:schemeClr val="tx2"/>
                </a:solidFill>
              </a:rPr>
              <a:t>Sample Data Consumers*</a:t>
            </a:r>
          </a:p>
        </p:txBody>
      </p:sp>
      <p:cxnSp>
        <p:nvCxnSpPr>
          <p:cNvPr id="58" name="Straight Connector 57">
            <a:extLst>
              <a:ext uri="{FF2B5EF4-FFF2-40B4-BE49-F238E27FC236}">
                <a16:creationId xmlns:a16="http://schemas.microsoft.com/office/drawing/2014/main" id="{61486903-F490-4189-A8DE-CBD91F459B18}"/>
              </a:ext>
            </a:extLst>
          </p:cNvPr>
          <p:cNvCxnSpPr>
            <a:cxnSpLocks/>
          </p:cNvCxnSpPr>
          <p:nvPr/>
        </p:nvCxnSpPr>
        <p:spPr>
          <a:xfrm>
            <a:off x="6225207" y="1107970"/>
            <a:ext cx="0" cy="5508605"/>
          </a:xfrm>
          <a:prstGeom prst="line">
            <a:avLst/>
          </a:prstGeom>
          <a:ln w="19050" cmpd="sng">
            <a:solidFill>
              <a:srgbClr val="646464"/>
            </a:solidFill>
          </a:ln>
        </p:spPr>
        <p:style>
          <a:lnRef idx="1">
            <a:schemeClr val="accent1"/>
          </a:lnRef>
          <a:fillRef idx="0">
            <a:schemeClr val="accent1"/>
          </a:fillRef>
          <a:effectRef idx="0">
            <a:schemeClr val="accent1"/>
          </a:effectRef>
          <a:fontRef idx="minor">
            <a:schemeClr val="tx1"/>
          </a:fontRef>
        </p:style>
      </p:cxnSp>
      <p:sp>
        <p:nvSpPr>
          <p:cNvPr id="151" name="Rectangle: Rounded Corners 150">
            <a:extLst>
              <a:ext uri="{FF2B5EF4-FFF2-40B4-BE49-F238E27FC236}">
                <a16:creationId xmlns:a16="http://schemas.microsoft.com/office/drawing/2014/main" id="{362265E2-6FD2-4518-A49E-124076CDC4AE}"/>
              </a:ext>
            </a:extLst>
          </p:cNvPr>
          <p:cNvSpPr/>
          <p:nvPr/>
        </p:nvSpPr>
        <p:spPr bwMode="gray">
          <a:xfrm>
            <a:off x="3398244" y="3870462"/>
            <a:ext cx="1036501" cy="432407"/>
          </a:xfrm>
          <a:prstGeom prst="roundRect">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a:solidFill>
                  <a:schemeClr val="tx2"/>
                </a:solidFill>
              </a:rPr>
              <a:t>Reference</a:t>
            </a:r>
          </a:p>
          <a:p>
            <a:pPr algn="ctr"/>
            <a:r>
              <a:rPr lang="en-US" sz="900" b="1" dirty="0">
                <a:solidFill>
                  <a:schemeClr val="tx2"/>
                </a:solidFill>
              </a:rPr>
              <a:t>Data</a:t>
            </a:r>
          </a:p>
        </p:txBody>
      </p:sp>
      <p:sp>
        <p:nvSpPr>
          <p:cNvPr id="152" name="Oval 151">
            <a:extLst>
              <a:ext uri="{FF2B5EF4-FFF2-40B4-BE49-F238E27FC236}">
                <a16:creationId xmlns:a16="http://schemas.microsoft.com/office/drawing/2014/main" id="{4A0E57FF-B63F-4ABD-BE47-3262089633DC}"/>
              </a:ext>
            </a:extLst>
          </p:cNvPr>
          <p:cNvSpPr/>
          <p:nvPr/>
        </p:nvSpPr>
        <p:spPr bwMode="gray">
          <a:xfrm>
            <a:off x="1341784" y="3852983"/>
            <a:ext cx="1199634" cy="521454"/>
          </a:xfrm>
          <a:prstGeom prst="ellipse">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a:solidFill>
                  <a:schemeClr val="tx2"/>
                </a:solidFill>
              </a:rPr>
              <a:t>External </a:t>
            </a:r>
          </a:p>
          <a:p>
            <a:pPr algn="ctr"/>
            <a:r>
              <a:rPr lang="en-US" sz="900" b="1" dirty="0">
                <a:solidFill>
                  <a:schemeClr val="tx2"/>
                </a:solidFill>
              </a:rPr>
              <a:t>Data</a:t>
            </a:r>
          </a:p>
        </p:txBody>
      </p:sp>
      <p:cxnSp>
        <p:nvCxnSpPr>
          <p:cNvPr id="153" name="Connector: Elbow 152">
            <a:extLst>
              <a:ext uri="{FF2B5EF4-FFF2-40B4-BE49-F238E27FC236}">
                <a16:creationId xmlns:a16="http://schemas.microsoft.com/office/drawing/2014/main" id="{CF62DD21-6B13-479A-AB86-BA847621720E}"/>
              </a:ext>
            </a:extLst>
          </p:cNvPr>
          <p:cNvCxnSpPr>
            <a:cxnSpLocks/>
            <a:stCxn id="165" idx="2"/>
            <a:endCxn id="164" idx="1"/>
          </p:cNvCxnSpPr>
          <p:nvPr/>
        </p:nvCxnSpPr>
        <p:spPr>
          <a:xfrm rot="16200000" flipH="1">
            <a:off x="1917552" y="5483818"/>
            <a:ext cx="235824" cy="5766"/>
          </a:xfrm>
          <a:prstGeom prst="bentConnector3">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4" name="Straight Arrow Connector 153">
            <a:extLst>
              <a:ext uri="{FF2B5EF4-FFF2-40B4-BE49-F238E27FC236}">
                <a16:creationId xmlns:a16="http://schemas.microsoft.com/office/drawing/2014/main" id="{9CC4E547-EFBC-41A4-BA74-DA6CEF37B4DA}"/>
              </a:ext>
            </a:extLst>
          </p:cNvPr>
          <p:cNvCxnSpPr>
            <a:cxnSpLocks/>
          </p:cNvCxnSpPr>
          <p:nvPr/>
        </p:nvCxnSpPr>
        <p:spPr>
          <a:xfrm flipH="1">
            <a:off x="1656838" y="4357016"/>
            <a:ext cx="2373" cy="61732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5" name="Straight Arrow Connector 154">
            <a:extLst>
              <a:ext uri="{FF2B5EF4-FFF2-40B4-BE49-F238E27FC236}">
                <a16:creationId xmlns:a16="http://schemas.microsoft.com/office/drawing/2014/main" id="{A288B4CE-A560-4088-84AF-A1CFB05D09C9}"/>
              </a:ext>
            </a:extLst>
          </p:cNvPr>
          <p:cNvCxnSpPr>
            <a:cxnSpLocks/>
            <a:stCxn id="167" idx="0"/>
            <a:endCxn id="166" idx="2"/>
          </p:cNvCxnSpPr>
          <p:nvPr/>
        </p:nvCxnSpPr>
        <p:spPr>
          <a:xfrm flipV="1">
            <a:off x="3462878" y="5368789"/>
            <a:ext cx="0" cy="3358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156" name="Group 155">
            <a:extLst>
              <a:ext uri="{FF2B5EF4-FFF2-40B4-BE49-F238E27FC236}">
                <a16:creationId xmlns:a16="http://schemas.microsoft.com/office/drawing/2014/main" id="{0C64742B-27AD-4923-8FF7-8C15DDA3E47C}"/>
              </a:ext>
            </a:extLst>
          </p:cNvPr>
          <p:cNvGrpSpPr/>
          <p:nvPr/>
        </p:nvGrpSpPr>
        <p:grpSpPr>
          <a:xfrm>
            <a:off x="1238780" y="4564000"/>
            <a:ext cx="3088134" cy="1687711"/>
            <a:chOff x="370959" y="1801606"/>
            <a:chExt cx="2446689" cy="1515775"/>
          </a:xfrm>
        </p:grpSpPr>
        <p:sp>
          <p:nvSpPr>
            <p:cNvPr id="163" name="Rectangle 162">
              <a:extLst>
                <a:ext uri="{FF2B5EF4-FFF2-40B4-BE49-F238E27FC236}">
                  <a16:creationId xmlns:a16="http://schemas.microsoft.com/office/drawing/2014/main" id="{3D1438FE-1468-4ADE-A468-04C328E95A1A}"/>
                </a:ext>
              </a:extLst>
            </p:cNvPr>
            <p:cNvSpPr/>
            <p:nvPr/>
          </p:nvSpPr>
          <p:spPr bwMode="gray">
            <a:xfrm>
              <a:off x="370959" y="1801606"/>
              <a:ext cx="2446689" cy="1515775"/>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164" name="Flowchart: Magnetic Disk 163">
              <a:extLst>
                <a:ext uri="{FF2B5EF4-FFF2-40B4-BE49-F238E27FC236}">
                  <a16:creationId xmlns:a16="http://schemas.microsoft.com/office/drawing/2014/main" id="{DC134C5A-26A0-4543-AEF7-20B1575FD6D6}"/>
                </a:ext>
              </a:extLst>
            </p:cNvPr>
            <p:cNvSpPr/>
            <p:nvPr/>
          </p:nvSpPr>
          <p:spPr bwMode="gray">
            <a:xfrm>
              <a:off x="635618" y="2736206"/>
              <a:ext cx="737655" cy="469867"/>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a:solidFill>
                    <a:schemeClr val="bg1"/>
                  </a:solidFill>
                </a:rPr>
                <a:t>Raw</a:t>
              </a:r>
            </a:p>
            <a:p>
              <a:pPr algn="ctr"/>
              <a:r>
                <a:rPr lang="en-US" sz="1000">
                  <a:solidFill>
                    <a:schemeClr val="bg1"/>
                  </a:solidFill>
                </a:rPr>
                <a:t>Data</a:t>
              </a:r>
            </a:p>
          </p:txBody>
        </p:sp>
        <p:sp>
          <p:nvSpPr>
            <p:cNvPr id="165" name="Rectangle: Rounded Corners 164">
              <a:extLst>
                <a:ext uri="{FF2B5EF4-FFF2-40B4-BE49-F238E27FC236}">
                  <a16:creationId xmlns:a16="http://schemas.microsoft.com/office/drawing/2014/main" id="{F8D29E3C-2614-4D2D-B3A4-05E5C15EFB70}"/>
                </a:ext>
              </a:extLst>
            </p:cNvPr>
            <p:cNvSpPr/>
            <p:nvPr/>
          </p:nvSpPr>
          <p:spPr bwMode="gray">
            <a:xfrm>
              <a:off x="551200" y="2170145"/>
              <a:ext cx="897354" cy="354262"/>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Ingest</a:t>
              </a:r>
            </a:p>
          </p:txBody>
        </p:sp>
        <p:sp>
          <p:nvSpPr>
            <p:cNvPr id="166" name="Rectangle: Rounded Corners 165">
              <a:extLst>
                <a:ext uri="{FF2B5EF4-FFF2-40B4-BE49-F238E27FC236}">
                  <a16:creationId xmlns:a16="http://schemas.microsoft.com/office/drawing/2014/main" id="{65885DBF-9F0C-4891-9B09-F81A613DEEE0}"/>
                </a:ext>
              </a:extLst>
            </p:cNvPr>
            <p:cNvSpPr/>
            <p:nvPr/>
          </p:nvSpPr>
          <p:spPr bwMode="gray">
            <a:xfrm>
              <a:off x="1684406" y="2170145"/>
              <a:ext cx="897354" cy="354262"/>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Curation</a:t>
              </a:r>
            </a:p>
          </p:txBody>
        </p:sp>
        <p:sp>
          <p:nvSpPr>
            <p:cNvPr id="167" name="Rectangle: Rounded Corners 166">
              <a:extLst>
                <a:ext uri="{FF2B5EF4-FFF2-40B4-BE49-F238E27FC236}">
                  <a16:creationId xmlns:a16="http://schemas.microsoft.com/office/drawing/2014/main" id="{4F3637D5-356B-4B8F-BA8F-1CCA6AEB95BB}"/>
                </a:ext>
              </a:extLst>
            </p:cNvPr>
            <p:cNvSpPr/>
            <p:nvPr/>
          </p:nvSpPr>
          <p:spPr bwMode="gray">
            <a:xfrm>
              <a:off x="1684406" y="2825997"/>
              <a:ext cx="897354" cy="354262"/>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Rules</a:t>
              </a:r>
            </a:p>
            <a:p>
              <a:pPr algn="ctr"/>
              <a:r>
                <a:rPr lang="en-US" sz="1000" dirty="0">
                  <a:solidFill>
                    <a:schemeClr val="bg1"/>
                  </a:solidFill>
                </a:rPr>
                <a:t>Libraries</a:t>
              </a:r>
            </a:p>
          </p:txBody>
        </p:sp>
        <p:sp>
          <p:nvSpPr>
            <p:cNvPr id="168" name="TextBox 167">
              <a:extLst>
                <a:ext uri="{FF2B5EF4-FFF2-40B4-BE49-F238E27FC236}">
                  <a16:creationId xmlns:a16="http://schemas.microsoft.com/office/drawing/2014/main" id="{39406B00-93A8-45BD-945C-9AED27E0A73E}"/>
                </a:ext>
              </a:extLst>
            </p:cNvPr>
            <p:cNvSpPr txBox="1"/>
            <p:nvPr/>
          </p:nvSpPr>
          <p:spPr>
            <a:xfrm>
              <a:off x="698067" y="1861030"/>
              <a:ext cx="1881925" cy="169277"/>
            </a:xfrm>
            <a:prstGeom prst="rect">
              <a:avLst/>
            </a:prstGeom>
            <a:noFill/>
          </p:spPr>
          <p:txBody>
            <a:bodyPr wrap="none" lIns="0" tIns="0" rIns="0" bIns="0" rtlCol="0">
              <a:spAutoFit/>
            </a:bodyPr>
            <a:lstStyle/>
            <a:p>
              <a:r>
                <a:rPr lang="en-US" sz="1100" b="1" dirty="0">
                  <a:solidFill>
                    <a:schemeClr val="tx2"/>
                  </a:solidFill>
                </a:rPr>
                <a:t>Siloed External  Data Intake</a:t>
              </a:r>
            </a:p>
          </p:txBody>
        </p:sp>
      </p:grpSp>
      <p:cxnSp>
        <p:nvCxnSpPr>
          <p:cNvPr id="157" name="Straight Arrow Connector 156">
            <a:extLst>
              <a:ext uri="{FF2B5EF4-FFF2-40B4-BE49-F238E27FC236}">
                <a16:creationId xmlns:a16="http://schemas.microsoft.com/office/drawing/2014/main" id="{D1D7CC37-D269-4D0D-954A-F51BB77E1049}"/>
              </a:ext>
            </a:extLst>
          </p:cNvPr>
          <p:cNvCxnSpPr>
            <a:cxnSpLocks/>
          </p:cNvCxnSpPr>
          <p:nvPr/>
        </p:nvCxnSpPr>
        <p:spPr>
          <a:xfrm>
            <a:off x="2967393" y="4330128"/>
            <a:ext cx="0" cy="644215"/>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8" name="Straight Arrow Connector 157">
            <a:extLst>
              <a:ext uri="{FF2B5EF4-FFF2-40B4-BE49-F238E27FC236}">
                <a16:creationId xmlns:a16="http://schemas.microsoft.com/office/drawing/2014/main" id="{1B2D97C1-E39D-4AA6-ABCB-11A7C1850039}"/>
              </a:ext>
            </a:extLst>
          </p:cNvPr>
          <p:cNvCxnSpPr>
            <a:cxnSpLocks/>
            <a:stCxn id="151" idx="2"/>
          </p:cNvCxnSpPr>
          <p:nvPr/>
        </p:nvCxnSpPr>
        <p:spPr>
          <a:xfrm flipH="1">
            <a:off x="3914295" y="4302869"/>
            <a:ext cx="2200" cy="67147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159" name="Group 158">
            <a:extLst>
              <a:ext uri="{FF2B5EF4-FFF2-40B4-BE49-F238E27FC236}">
                <a16:creationId xmlns:a16="http://schemas.microsoft.com/office/drawing/2014/main" id="{D86746B5-70FB-401B-9464-11D1B394AE1D}"/>
              </a:ext>
            </a:extLst>
          </p:cNvPr>
          <p:cNvGrpSpPr/>
          <p:nvPr/>
        </p:nvGrpSpPr>
        <p:grpSpPr>
          <a:xfrm>
            <a:off x="2905097" y="3830089"/>
            <a:ext cx="233661" cy="486772"/>
            <a:chOff x="3427413" y="4927600"/>
            <a:chExt cx="292100" cy="600075"/>
          </a:xfrm>
          <a:solidFill>
            <a:schemeClr val="accent2"/>
          </a:solidFill>
        </p:grpSpPr>
        <p:sp>
          <p:nvSpPr>
            <p:cNvPr id="160" name="Freeform 34">
              <a:extLst>
                <a:ext uri="{FF2B5EF4-FFF2-40B4-BE49-F238E27FC236}">
                  <a16:creationId xmlns:a16="http://schemas.microsoft.com/office/drawing/2014/main" id="{AF8B4C85-D85C-4B3F-B698-C942A57395B5}"/>
                </a:ext>
              </a:extLst>
            </p:cNvPr>
            <p:cNvSpPr>
              <a:spLocks/>
            </p:cNvSpPr>
            <p:nvPr/>
          </p:nvSpPr>
          <p:spPr bwMode="auto">
            <a:xfrm>
              <a:off x="3548063" y="5235575"/>
              <a:ext cx="55563" cy="55563"/>
            </a:xfrm>
            <a:custGeom>
              <a:avLst/>
              <a:gdLst>
                <a:gd name="T0" fmla="*/ 9 w 10"/>
                <a:gd name="T1" fmla="*/ 8 h 10"/>
                <a:gd name="T2" fmla="*/ 9 w 10"/>
                <a:gd name="T3" fmla="*/ 8 h 10"/>
                <a:gd name="T4" fmla="*/ 9 w 10"/>
                <a:gd name="T5" fmla="*/ 8 h 10"/>
                <a:gd name="T6" fmla="*/ 10 w 10"/>
                <a:gd name="T7" fmla="*/ 7 h 10"/>
                <a:gd name="T8" fmla="*/ 10 w 10"/>
                <a:gd name="T9" fmla="*/ 7 h 10"/>
                <a:gd name="T10" fmla="*/ 10 w 10"/>
                <a:gd name="T11" fmla="*/ 7 h 10"/>
                <a:gd name="T12" fmla="*/ 10 w 10"/>
                <a:gd name="T13" fmla="*/ 4 h 10"/>
                <a:gd name="T14" fmla="*/ 6 w 10"/>
                <a:gd name="T15" fmla="*/ 0 h 10"/>
                <a:gd name="T16" fmla="*/ 3 w 10"/>
                <a:gd name="T17" fmla="*/ 0 h 10"/>
                <a:gd name="T18" fmla="*/ 0 w 10"/>
                <a:gd name="T19" fmla="*/ 4 h 10"/>
                <a:gd name="T20" fmla="*/ 0 w 10"/>
                <a:gd name="T21" fmla="*/ 7 h 10"/>
                <a:gd name="T22" fmla="*/ 0 w 10"/>
                <a:gd name="T23" fmla="*/ 7 h 10"/>
                <a:gd name="T24" fmla="*/ 0 w 10"/>
                <a:gd name="T25" fmla="*/ 7 h 10"/>
                <a:gd name="T26" fmla="*/ 0 w 10"/>
                <a:gd name="T27" fmla="*/ 8 h 10"/>
                <a:gd name="T28" fmla="*/ 0 w 10"/>
                <a:gd name="T29" fmla="*/ 8 h 10"/>
                <a:gd name="T30" fmla="*/ 0 w 10"/>
                <a:gd name="T31" fmla="*/ 8 h 10"/>
                <a:gd name="T32" fmla="*/ 0 w 10"/>
                <a:gd name="T33" fmla="*/ 9 h 10"/>
                <a:gd name="T34" fmla="*/ 0 w 10"/>
                <a:gd name="T35" fmla="*/ 9 h 10"/>
                <a:gd name="T36" fmla="*/ 1 w 10"/>
                <a:gd name="T37" fmla="*/ 9 h 10"/>
                <a:gd name="T38" fmla="*/ 1 w 10"/>
                <a:gd name="T39" fmla="*/ 9 h 10"/>
                <a:gd name="T40" fmla="*/ 1 w 10"/>
                <a:gd name="T41" fmla="*/ 10 h 10"/>
                <a:gd name="T42" fmla="*/ 2 w 10"/>
                <a:gd name="T43" fmla="*/ 10 h 10"/>
                <a:gd name="T44" fmla="*/ 3 w 10"/>
                <a:gd name="T45" fmla="*/ 10 h 10"/>
                <a:gd name="T46" fmla="*/ 3 w 10"/>
                <a:gd name="T47" fmla="*/ 10 h 10"/>
                <a:gd name="T48" fmla="*/ 6 w 10"/>
                <a:gd name="T49" fmla="*/ 10 h 10"/>
                <a:gd name="T50" fmla="*/ 7 w 10"/>
                <a:gd name="T51" fmla="*/ 10 h 10"/>
                <a:gd name="T52" fmla="*/ 8 w 10"/>
                <a:gd name="T53" fmla="*/ 10 h 10"/>
                <a:gd name="T54" fmla="*/ 8 w 10"/>
                <a:gd name="T55" fmla="*/ 10 h 10"/>
                <a:gd name="T56" fmla="*/ 8 w 10"/>
                <a:gd name="T57" fmla="*/ 9 h 10"/>
                <a:gd name="T58" fmla="*/ 8 w 10"/>
                <a:gd name="T59" fmla="*/ 9 h 10"/>
                <a:gd name="T60" fmla="*/ 9 w 10"/>
                <a:gd name="T61" fmla="*/ 9 h 10"/>
                <a:gd name="T62" fmla="*/ 9 w 10"/>
                <a:gd name="T63" fmla="*/ 9 h 10"/>
                <a:gd name="T64" fmla="*/ 9 w 10"/>
                <a:gd name="T6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0">
                  <a:moveTo>
                    <a:pt x="9" y="8"/>
                  </a:moveTo>
                  <a:cubicBezTo>
                    <a:pt x="9" y="8"/>
                    <a:pt x="9" y="8"/>
                    <a:pt x="9" y="8"/>
                  </a:cubicBezTo>
                  <a:cubicBezTo>
                    <a:pt x="9" y="8"/>
                    <a:pt x="9" y="8"/>
                    <a:pt x="9" y="8"/>
                  </a:cubicBezTo>
                  <a:cubicBezTo>
                    <a:pt x="9" y="8"/>
                    <a:pt x="9" y="8"/>
                    <a:pt x="10" y="7"/>
                  </a:cubicBezTo>
                  <a:cubicBezTo>
                    <a:pt x="10" y="7"/>
                    <a:pt x="10" y="7"/>
                    <a:pt x="10" y="7"/>
                  </a:cubicBezTo>
                  <a:cubicBezTo>
                    <a:pt x="10" y="7"/>
                    <a:pt x="10" y="7"/>
                    <a:pt x="10" y="7"/>
                  </a:cubicBezTo>
                  <a:cubicBezTo>
                    <a:pt x="10" y="4"/>
                    <a:pt x="10" y="4"/>
                    <a:pt x="10" y="4"/>
                  </a:cubicBezTo>
                  <a:cubicBezTo>
                    <a:pt x="10" y="2"/>
                    <a:pt x="8" y="0"/>
                    <a:pt x="6" y="0"/>
                  </a:cubicBezTo>
                  <a:cubicBezTo>
                    <a:pt x="3" y="0"/>
                    <a:pt x="3" y="0"/>
                    <a:pt x="3" y="0"/>
                  </a:cubicBezTo>
                  <a:cubicBezTo>
                    <a:pt x="1" y="0"/>
                    <a:pt x="0" y="2"/>
                    <a:pt x="0" y="4"/>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1" y="9"/>
                    <a:pt x="1" y="9"/>
                    <a:pt x="1" y="9"/>
                  </a:cubicBezTo>
                  <a:cubicBezTo>
                    <a:pt x="1" y="9"/>
                    <a:pt x="1" y="9"/>
                    <a:pt x="1" y="9"/>
                  </a:cubicBezTo>
                  <a:cubicBezTo>
                    <a:pt x="1" y="10"/>
                    <a:pt x="1" y="10"/>
                    <a:pt x="1" y="10"/>
                  </a:cubicBezTo>
                  <a:cubicBezTo>
                    <a:pt x="2" y="10"/>
                    <a:pt x="2" y="10"/>
                    <a:pt x="2" y="10"/>
                  </a:cubicBezTo>
                  <a:cubicBezTo>
                    <a:pt x="2" y="10"/>
                    <a:pt x="2" y="10"/>
                    <a:pt x="3" y="10"/>
                  </a:cubicBezTo>
                  <a:cubicBezTo>
                    <a:pt x="3" y="10"/>
                    <a:pt x="3" y="10"/>
                    <a:pt x="3" y="10"/>
                  </a:cubicBezTo>
                  <a:cubicBezTo>
                    <a:pt x="6" y="10"/>
                    <a:pt x="6" y="10"/>
                    <a:pt x="6" y="10"/>
                  </a:cubicBezTo>
                  <a:cubicBezTo>
                    <a:pt x="6" y="10"/>
                    <a:pt x="6" y="10"/>
                    <a:pt x="7" y="10"/>
                  </a:cubicBezTo>
                  <a:cubicBezTo>
                    <a:pt x="7" y="10"/>
                    <a:pt x="7" y="10"/>
                    <a:pt x="8" y="10"/>
                  </a:cubicBezTo>
                  <a:cubicBezTo>
                    <a:pt x="8" y="10"/>
                    <a:pt x="8" y="10"/>
                    <a:pt x="8" y="10"/>
                  </a:cubicBezTo>
                  <a:cubicBezTo>
                    <a:pt x="8" y="10"/>
                    <a:pt x="8" y="10"/>
                    <a:pt x="8" y="9"/>
                  </a:cubicBezTo>
                  <a:cubicBezTo>
                    <a:pt x="8" y="9"/>
                    <a:pt x="8" y="9"/>
                    <a:pt x="8" y="9"/>
                  </a:cubicBezTo>
                  <a:cubicBezTo>
                    <a:pt x="8" y="9"/>
                    <a:pt x="9" y="9"/>
                    <a:pt x="9" y="9"/>
                  </a:cubicBezTo>
                  <a:cubicBezTo>
                    <a:pt x="9" y="9"/>
                    <a:pt x="9" y="9"/>
                    <a:pt x="9" y="9"/>
                  </a:cubicBezTo>
                  <a:cubicBezTo>
                    <a:pt x="9" y="9"/>
                    <a:pt x="9" y="8"/>
                    <a:pt x="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61" name="Oval 35">
              <a:extLst>
                <a:ext uri="{FF2B5EF4-FFF2-40B4-BE49-F238E27FC236}">
                  <a16:creationId xmlns:a16="http://schemas.microsoft.com/office/drawing/2014/main" id="{D5D50DE2-ECA6-416B-BC76-874FDC822FA1}"/>
                </a:ext>
              </a:extLst>
            </p:cNvPr>
            <p:cNvSpPr>
              <a:spLocks noChangeArrowheads="1"/>
            </p:cNvSpPr>
            <p:nvPr/>
          </p:nvSpPr>
          <p:spPr bwMode="auto">
            <a:xfrm>
              <a:off x="3427413" y="4927600"/>
              <a:ext cx="292100" cy="29210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62" name="Freeform 36">
              <a:extLst>
                <a:ext uri="{FF2B5EF4-FFF2-40B4-BE49-F238E27FC236}">
                  <a16:creationId xmlns:a16="http://schemas.microsoft.com/office/drawing/2014/main" id="{C35013FC-DFF5-479B-8F75-5CA371B946FD}"/>
                </a:ext>
              </a:extLst>
            </p:cNvPr>
            <p:cNvSpPr>
              <a:spLocks noEditPoints="1"/>
            </p:cNvSpPr>
            <p:nvPr/>
          </p:nvSpPr>
          <p:spPr bwMode="auto">
            <a:xfrm>
              <a:off x="3427413" y="5251450"/>
              <a:ext cx="292100" cy="276225"/>
            </a:xfrm>
            <a:custGeom>
              <a:avLst/>
              <a:gdLst>
                <a:gd name="T0" fmla="*/ 53 w 53"/>
                <a:gd name="T1" fmla="*/ 21 h 50"/>
                <a:gd name="T2" fmla="*/ 43 w 53"/>
                <a:gd name="T3" fmla="*/ 0 h 50"/>
                <a:gd name="T4" fmla="*/ 30 w 53"/>
                <a:gd name="T5" fmla="*/ 16 h 50"/>
                <a:gd name="T6" fmla="*/ 29 w 53"/>
                <a:gd name="T7" fmla="*/ 9 h 50"/>
                <a:gd name="T8" fmla="*/ 28 w 53"/>
                <a:gd name="T9" fmla="*/ 9 h 50"/>
                <a:gd name="T10" fmla="*/ 25 w 53"/>
                <a:gd name="T11" fmla="*/ 9 h 50"/>
                <a:gd name="T12" fmla="*/ 24 w 53"/>
                <a:gd name="T13" fmla="*/ 9 h 50"/>
                <a:gd name="T14" fmla="*/ 23 w 53"/>
                <a:gd name="T15" fmla="*/ 16 h 50"/>
                <a:gd name="T16" fmla="*/ 10 w 53"/>
                <a:gd name="T17" fmla="*/ 0 h 50"/>
                <a:gd name="T18" fmla="*/ 0 w 53"/>
                <a:gd name="T19" fmla="*/ 21 h 50"/>
                <a:gd name="T20" fmla="*/ 0 w 53"/>
                <a:gd name="T21" fmla="*/ 21 h 50"/>
                <a:gd name="T22" fmla="*/ 0 w 53"/>
                <a:gd name="T23" fmla="*/ 50 h 50"/>
                <a:gd name="T24" fmla="*/ 53 w 53"/>
                <a:gd name="T25" fmla="*/ 50 h 50"/>
                <a:gd name="T26" fmla="*/ 53 w 53"/>
                <a:gd name="T27" fmla="*/ 21 h 50"/>
                <a:gd name="T28" fmla="*/ 47 w 53"/>
                <a:gd name="T29" fmla="*/ 27 h 50"/>
                <a:gd name="T30" fmla="*/ 33 w 53"/>
                <a:gd name="T31" fmla="*/ 27 h 50"/>
                <a:gd name="T32" fmla="*/ 33 w 53"/>
                <a:gd name="T33" fmla="*/ 24 h 50"/>
                <a:gd name="T34" fmla="*/ 47 w 53"/>
                <a:gd name="T35" fmla="*/ 24 h 50"/>
                <a:gd name="T36" fmla="*/ 47 w 53"/>
                <a:gd name="T37" fmla="*/ 26 h 50"/>
                <a:gd name="T38" fmla="*/ 47 w 53"/>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50">
                  <a:moveTo>
                    <a:pt x="53" y="21"/>
                  </a:moveTo>
                  <a:cubicBezTo>
                    <a:pt x="53" y="12"/>
                    <a:pt x="49" y="5"/>
                    <a:pt x="43" y="0"/>
                  </a:cubicBezTo>
                  <a:cubicBezTo>
                    <a:pt x="30" y="16"/>
                    <a:pt x="30" y="16"/>
                    <a:pt x="30" y="16"/>
                  </a:cubicBezTo>
                  <a:cubicBezTo>
                    <a:pt x="29" y="9"/>
                    <a:pt x="29" y="9"/>
                    <a:pt x="29" y="9"/>
                  </a:cubicBezTo>
                  <a:cubicBezTo>
                    <a:pt x="29" y="9"/>
                    <a:pt x="28" y="9"/>
                    <a:pt x="28" y="9"/>
                  </a:cubicBezTo>
                  <a:cubicBezTo>
                    <a:pt x="25" y="9"/>
                    <a:pt x="25" y="9"/>
                    <a:pt x="25" y="9"/>
                  </a:cubicBezTo>
                  <a:cubicBezTo>
                    <a:pt x="25" y="9"/>
                    <a:pt x="24" y="9"/>
                    <a:pt x="24" y="9"/>
                  </a:cubicBezTo>
                  <a:cubicBezTo>
                    <a:pt x="23" y="16"/>
                    <a:pt x="23" y="16"/>
                    <a:pt x="23" y="16"/>
                  </a:cubicBezTo>
                  <a:cubicBezTo>
                    <a:pt x="10" y="0"/>
                    <a:pt x="10" y="0"/>
                    <a:pt x="10" y="0"/>
                  </a:cubicBezTo>
                  <a:cubicBezTo>
                    <a:pt x="4" y="5"/>
                    <a:pt x="0" y="12"/>
                    <a:pt x="0" y="21"/>
                  </a:cubicBezTo>
                  <a:cubicBezTo>
                    <a:pt x="0" y="21"/>
                    <a:pt x="0" y="21"/>
                    <a:pt x="0" y="21"/>
                  </a:cubicBezTo>
                  <a:cubicBezTo>
                    <a:pt x="0" y="50"/>
                    <a:pt x="0" y="50"/>
                    <a:pt x="0" y="50"/>
                  </a:cubicBezTo>
                  <a:cubicBezTo>
                    <a:pt x="53" y="50"/>
                    <a:pt x="53" y="50"/>
                    <a:pt x="53" y="50"/>
                  </a:cubicBezTo>
                  <a:cubicBezTo>
                    <a:pt x="53" y="21"/>
                    <a:pt x="53" y="21"/>
                    <a:pt x="53" y="21"/>
                  </a:cubicBezTo>
                  <a:close/>
                  <a:moveTo>
                    <a:pt x="47" y="27"/>
                  </a:moveTo>
                  <a:cubicBezTo>
                    <a:pt x="33" y="27"/>
                    <a:pt x="33" y="27"/>
                    <a:pt x="33" y="27"/>
                  </a:cubicBezTo>
                  <a:cubicBezTo>
                    <a:pt x="33" y="24"/>
                    <a:pt x="33" y="24"/>
                    <a:pt x="33" y="24"/>
                  </a:cubicBezTo>
                  <a:cubicBezTo>
                    <a:pt x="47" y="24"/>
                    <a:pt x="47" y="24"/>
                    <a:pt x="47" y="24"/>
                  </a:cubicBezTo>
                  <a:cubicBezTo>
                    <a:pt x="47" y="26"/>
                    <a:pt x="47" y="26"/>
                    <a:pt x="47" y="26"/>
                  </a:cubicBezTo>
                  <a:lnTo>
                    <a:pt x="47" y="27"/>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cxnSp>
        <p:nvCxnSpPr>
          <p:cNvPr id="90" name="Connector: Elbow 89">
            <a:extLst>
              <a:ext uri="{FF2B5EF4-FFF2-40B4-BE49-F238E27FC236}">
                <a16:creationId xmlns:a16="http://schemas.microsoft.com/office/drawing/2014/main" id="{B62C4502-AC81-4B5C-B201-F71E51274206}"/>
              </a:ext>
            </a:extLst>
          </p:cNvPr>
          <p:cNvCxnSpPr>
            <a:cxnSpLocks/>
            <a:stCxn id="163" idx="3"/>
            <a:endCxn id="33" idx="1"/>
          </p:cNvCxnSpPr>
          <p:nvPr/>
        </p:nvCxnSpPr>
        <p:spPr>
          <a:xfrm flipV="1">
            <a:off x="4326914" y="3394922"/>
            <a:ext cx="3095690" cy="2012934"/>
          </a:xfrm>
          <a:prstGeom prst="bentConnector3">
            <a:avLst>
              <a:gd name="adj1" fmla="val 50000"/>
            </a:avLst>
          </a:prstGeom>
          <a:ln w="9525" cmpd="sng">
            <a:solidFill>
              <a:srgbClr val="626262"/>
            </a:solidFill>
            <a:tailEnd type="triangl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3859F0A8-9599-4070-90DE-20D3E04792D8}"/>
              </a:ext>
            </a:extLst>
          </p:cNvPr>
          <p:cNvSpPr txBox="1"/>
          <p:nvPr/>
        </p:nvSpPr>
        <p:spPr>
          <a:xfrm>
            <a:off x="6542618" y="6616575"/>
            <a:ext cx="5095947" cy="184666"/>
          </a:xfrm>
          <a:prstGeom prst="rect">
            <a:avLst/>
          </a:prstGeom>
          <a:noFill/>
        </p:spPr>
        <p:txBody>
          <a:bodyPr wrap="none" lIns="0" tIns="0" rIns="0" bIns="0" rtlCol="0">
            <a:spAutoFit/>
          </a:bodyPr>
          <a:lstStyle/>
          <a:p>
            <a:r>
              <a:rPr lang="en-US" sz="1200" dirty="0">
                <a:solidFill>
                  <a:schemeClr val="tx2"/>
                </a:solidFill>
              </a:rPr>
              <a:t>* </a:t>
            </a:r>
            <a:r>
              <a:rPr lang="en-US" sz="1000" dirty="0">
                <a:solidFill>
                  <a:schemeClr val="tx2"/>
                </a:solidFill>
              </a:rPr>
              <a:t>This list is not meant to be exhaustive but only a sample of our 2-3 Data Consumers. </a:t>
            </a:r>
          </a:p>
        </p:txBody>
      </p:sp>
      <p:cxnSp>
        <p:nvCxnSpPr>
          <p:cNvPr id="221" name="Straight Arrow Connector 220">
            <a:extLst>
              <a:ext uri="{FF2B5EF4-FFF2-40B4-BE49-F238E27FC236}">
                <a16:creationId xmlns:a16="http://schemas.microsoft.com/office/drawing/2014/main" id="{3097F805-177C-45C4-B7FE-D7C585050186}"/>
              </a:ext>
            </a:extLst>
          </p:cNvPr>
          <p:cNvCxnSpPr>
            <a:cxnSpLocks/>
          </p:cNvCxnSpPr>
          <p:nvPr/>
        </p:nvCxnSpPr>
        <p:spPr>
          <a:xfrm>
            <a:off x="4280842" y="2333682"/>
            <a:ext cx="3141762"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68" name="Flowchart: Magnetic Disk 67">
            <a:extLst>
              <a:ext uri="{FF2B5EF4-FFF2-40B4-BE49-F238E27FC236}">
                <a16:creationId xmlns:a16="http://schemas.microsoft.com/office/drawing/2014/main" id="{16EA6BED-2D6C-4E30-8266-02246F4EC26E}"/>
              </a:ext>
            </a:extLst>
          </p:cNvPr>
          <p:cNvSpPr/>
          <p:nvPr/>
        </p:nvSpPr>
        <p:spPr bwMode="gray">
          <a:xfrm>
            <a:off x="9359472" y="4182589"/>
            <a:ext cx="1122664" cy="58586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bg1"/>
                </a:solidFill>
              </a:rPr>
              <a:t>Data</a:t>
            </a:r>
          </a:p>
          <a:p>
            <a:pPr algn="ctr"/>
            <a:r>
              <a:rPr lang="en-US" sz="1200" dirty="0">
                <a:solidFill>
                  <a:schemeClr val="bg1"/>
                </a:solidFill>
              </a:rPr>
              <a:t>Lake</a:t>
            </a:r>
          </a:p>
        </p:txBody>
      </p:sp>
      <p:cxnSp>
        <p:nvCxnSpPr>
          <p:cNvPr id="69" name="Straight Arrow Connector 68">
            <a:extLst>
              <a:ext uri="{FF2B5EF4-FFF2-40B4-BE49-F238E27FC236}">
                <a16:creationId xmlns:a16="http://schemas.microsoft.com/office/drawing/2014/main" id="{6A83FA19-9E8A-45B3-B06B-3B6E6E7C4B63}"/>
              </a:ext>
            </a:extLst>
          </p:cNvPr>
          <p:cNvCxnSpPr>
            <a:cxnSpLocks/>
            <a:stCxn id="70" idx="3"/>
            <a:endCxn id="68" idx="2"/>
          </p:cNvCxnSpPr>
          <p:nvPr/>
        </p:nvCxnSpPr>
        <p:spPr>
          <a:xfrm>
            <a:off x="8696738" y="4471831"/>
            <a:ext cx="662734" cy="369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70" name="Rectangle: Rounded Corners 69">
            <a:extLst>
              <a:ext uri="{FF2B5EF4-FFF2-40B4-BE49-F238E27FC236}">
                <a16:creationId xmlns:a16="http://schemas.microsoft.com/office/drawing/2014/main" id="{2832328B-95D4-4F45-862C-4F5C29649A9E}"/>
              </a:ext>
            </a:extLst>
          </p:cNvPr>
          <p:cNvSpPr/>
          <p:nvPr/>
        </p:nvSpPr>
        <p:spPr bwMode="gray">
          <a:xfrm>
            <a:off x="7422603" y="4250970"/>
            <a:ext cx="1274135"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bg1"/>
                </a:solidFill>
              </a:rPr>
              <a:t>Data Lake</a:t>
            </a:r>
          </a:p>
          <a:p>
            <a:pPr algn="ctr"/>
            <a:r>
              <a:rPr lang="en-US" sz="1200" dirty="0">
                <a:solidFill>
                  <a:schemeClr val="bg1"/>
                </a:solidFill>
              </a:rPr>
              <a:t>Ingest Process</a:t>
            </a:r>
          </a:p>
        </p:txBody>
      </p:sp>
    </p:spTree>
    <p:extLst>
      <p:ext uri="{BB962C8B-B14F-4D97-AF65-F5344CB8AC3E}">
        <p14:creationId xmlns:p14="http://schemas.microsoft.com/office/powerpoint/2010/main" val="3266835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Rectangle 201">
            <a:extLst>
              <a:ext uri="{FF2B5EF4-FFF2-40B4-BE49-F238E27FC236}">
                <a16:creationId xmlns:a16="http://schemas.microsoft.com/office/drawing/2014/main" id="{B5CA336B-A1BF-4871-8150-E9B291B6724C}"/>
              </a:ext>
            </a:extLst>
          </p:cNvPr>
          <p:cNvSpPr/>
          <p:nvPr/>
        </p:nvSpPr>
        <p:spPr bwMode="gray">
          <a:xfrm>
            <a:off x="6642479" y="1758684"/>
            <a:ext cx="4968497" cy="3508288"/>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2" name="Title 1">
            <a:extLst>
              <a:ext uri="{FF2B5EF4-FFF2-40B4-BE49-F238E27FC236}">
                <a16:creationId xmlns:a16="http://schemas.microsoft.com/office/drawing/2014/main" id="{EEB2DB48-F55E-46AE-9540-691925464E4C}"/>
              </a:ext>
            </a:extLst>
          </p:cNvPr>
          <p:cNvSpPr>
            <a:spLocks noGrp="1"/>
          </p:cNvSpPr>
          <p:nvPr>
            <p:ph type="title"/>
          </p:nvPr>
        </p:nvSpPr>
        <p:spPr/>
        <p:txBody>
          <a:bodyPr/>
          <a:lstStyle/>
          <a:p>
            <a:r>
              <a:rPr lang="en-US" dirty="0"/>
              <a:t>CVSH External Data Intake - Future State</a:t>
            </a:r>
          </a:p>
        </p:txBody>
      </p:sp>
      <p:cxnSp>
        <p:nvCxnSpPr>
          <p:cNvPr id="38" name="Straight Arrow Connector 37">
            <a:extLst>
              <a:ext uri="{FF2B5EF4-FFF2-40B4-BE49-F238E27FC236}">
                <a16:creationId xmlns:a16="http://schemas.microsoft.com/office/drawing/2014/main" id="{7F2776A2-55FA-4901-8D56-61F7EDBF5378}"/>
              </a:ext>
            </a:extLst>
          </p:cNvPr>
          <p:cNvCxnSpPr>
            <a:cxnSpLocks/>
            <a:stCxn id="32" idx="3"/>
            <a:endCxn id="16" idx="2"/>
          </p:cNvCxnSpPr>
          <p:nvPr/>
        </p:nvCxnSpPr>
        <p:spPr>
          <a:xfrm>
            <a:off x="8481566" y="2333682"/>
            <a:ext cx="858322" cy="243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0" name="Straight Arrow Connector 39">
            <a:extLst>
              <a:ext uri="{FF2B5EF4-FFF2-40B4-BE49-F238E27FC236}">
                <a16:creationId xmlns:a16="http://schemas.microsoft.com/office/drawing/2014/main" id="{41BF7768-DCB4-4368-9877-C2C93FF91055}"/>
              </a:ext>
            </a:extLst>
          </p:cNvPr>
          <p:cNvCxnSpPr>
            <a:cxnSpLocks/>
            <a:endCxn id="32" idx="1"/>
          </p:cNvCxnSpPr>
          <p:nvPr/>
        </p:nvCxnSpPr>
        <p:spPr>
          <a:xfrm flipV="1">
            <a:off x="5555829" y="2333682"/>
            <a:ext cx="1866775" cy="1359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47" name="Straight Arrow Connector 46">
            <a:extLst>
              <a:ext uri="{FF2B5EF4-FFF2-40B4-BE49-F238E27FC236}">
                <a16:creationId xmlns:a16="http://schemas.microsoft.com/office/drawing/2014/main" id="{027D99D2-D61F-43DD-88D9-A764AB3F4C74}"/>
              </a:ext>
            </a:extLst>
          </p:cNvPr>
          <p:cNvCxnSpPr>
            <a:cxnSpLocks/>
            <a:stCxn id="33" idx="3"/>
            <a:endCxn id="45" idx="2"/>
          </p:cNvCxnSpPr>
          <p:nvPr/>
        </p:nvCxnSpPr>
        <p:spPr>
          <a:xfrm>
            <a:off x="8481566" y="3394922"/>
            <a:ext cx="877906" cy="563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50" name="Rectangle 49">
            <a:extLst>
              <a:ext uri="{FF2B5EF4-FFF2-40B4-BE49-F238E27FC236}">
                <a16:creationId xmlns:a16="http://schemas.microsoft.com/office/drawing/2014/main" id="{75207217-91AF-4E8B-A9E8-A32EC790D29A}"/>
              </a:ext>
            </a:extLst>
          </p:cNvPr>
          <p:cNvSpPr/>
          <p:nvPr/>
        </p:nvSpPr>
        <p:spPr bwMode="gray">
          <a:xfrm>
            <a:off x="411379" y="4112326"/>
            <a:ext cx="4935868" cy="2215321"/>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16" name="Flowchart: Magnetic Disk 15">
            <a:extLst>
              <a:ext uri="{FF2B5EF4-FFF2-40B4-BE49-F238E27FC236}">
                <a16:creationId xmlns:a16="http://schemas.microsoft.com/office/drawing/2014/main" id="{0A6DB9FC-2790-49F5-96BC-671A635F376F}"/>
              </a:ext>
            </a:extLst>
          </p:cNvPr>
          <p:cNvSpPr/>
          <p:nvPr/>
        </p:nvSpPr>
        <p:spPr bwMode="gray">
          <a:xfrm>
            <a:off x="9339888" y="2043179"/>
            <a:ext cx="1122664" cy="58586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AHM ODS</a:t>
            </a:r>
          </a:p>
        </p:txBody>
      </p:sp>
      <p:sp>
        <p:nvSpPr>
          <p:cNvPr id="32" name="Rectangle: Rounded Corners 31">
            <a:extLst>
              <a:ext uri="{FF2B5EF4-FFF2-40B4-BE49-F238E27FC236}">
                <a16:creationId xmlns:a16="http://schemas.microsoft.com/office/drawing/2014/main" id="{C23CAF40-5081-4672-BB4F-CE5D10092D0A}"/>
              </a:ext>
            </a:extLst>
          </p:cNvPr>
          <p:cNvSpPr/>
          <p:nvPr/>
        </p:nvSpPr>
        <p:spPr bwMode="gray">
          <a:xfrm>
            <a:off x="7422604" y="2112821"/>
            <a:ext cx="1058962"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AHDI ETL</a:t>
            </a:r>
          </a:p>
        </p:txBody>
      </p:sp>
      <p:sp>
        <p:nvSpPr>
          <p:cNvPr id="33" name="Rectangle: Rounded Corners 32">
            <a:extLst>
              <a:ext uri="{FF2B5EF4-FFF2-40B4-BE49-F238E27FC236}">
                <a16:creationId xmlns:a16="http://schemas.microsoft.com/office/drawing/2014/main" id="{EA2C1C74-8715-4291-B19D-B1A652C9088A}"/>
              </a:ext>
            </a:extLst>
          </p:cNvPr>
          <p:cNvSpPr/>
          <p:nvPr/>
        </p:nvSpPr>
        <p:spPr bwMode="gray">
          <a:xfrm>
            <a:off x="7422604" y="3174061"/>
            <a:ext cx="1058962"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EDW ETL</a:t>
            </a:r>
          </a:p>
        </p:txBody>
      </p:sp>
      <p:sp>
        <p:nvSpPr>
          <p:cNvPr id="45" name="Flowchart: Magnetic Disk 44">
            <a:extLst>
              <a:ext uri="{FF2B5EF4-FFF2-40B4-BE49-F238E27FC236}">
                <a16:creationId xmlns:a16="http://schemas.microsoft.com/office/drawing/2014/main" id="{3343FEFB-7C1D-4798-BA26-F401C7045C50}"/>
              </a:ext>
            </a:extLst>
          </p:cNvPr>
          <p:cNvSpPr/>
          <p:nvPr/>
        </p:nvSpPr>
        <p:spPr bwMode="gray">
          <a:xfrm>
            <a:off x="9359472" y="3107621"/>
            <a:ext cx="1122664" cy="58586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bg1"/>
                </a:solidFill>
              </a:rPr>
              <a:t>EDW</a:t>
            </a:r>
          </a:p>
          <a:p>
            <a:pPr algn="ctr"/>
            <a:r>
              <a:rPr lang="en-US" sz="1200">
                <a:solidFill>
                  <a:schemeClr val="bg1"/>
                </a:solidFill>
              </a:rPr>
              <a:t>External</a:t>
            </a:r>
          </a:p>
        </p:txBody>
      </p:sp>
      <p:grpSp>
        <p:nvGrpSpPr>
          <p:cNvPr id="46" name="Group 45">
            <a:extLst>
              <a:ext uri="{FF2B5EF4-FFF2-40B4-BE49-F238E27FC236}">
                <a16:creationId xmlns:a16="http://schemas.microsoft.com/office/drawing/2014/main" id="{29DC4481-8BE0-409E-BF4B-E164188DC5BC}"/>
              </a:ext>
            </a:extLst>
          </p:cNvPr>
          <p:cNvGrpSpPr/>
          <p:nvPr/>
        </p:nvGrpSpPr>
        <p:grpSpPr>
          <a:xfrm>
            <a:off x="400096" y="1013256"/>
            <a:ext cx="2614109" cy="2174918"/>
            <a:chOff x="370279" y="1142463"/>
            <a:chExt cx="2614109" cy="2174918"/>
          </a:xfrm>
        </p:grpSpPr>
        <p:sp>
          <p:nvSpPr>
            <p:cNvPr id="12" name="Rectangle: Rounded Corners 11">
              <a:extLst>
                <a:ext uri="{FF2B5EF4-FFF2-40B4-BE49-F238E27FC236}">
                  <a16:creationId xmlns:a16="http://schemas.microsoft.com/office/drawing/2014/main" id="{FE80D894-D049-4249-89C3-2CB429A7EF23}"/>
                </a:ext>
              </a:extLst>
            </p:cNvPr>
            <p:cNvSpPr/>
            <p:nvPr/>
          </p:nvSpPr>
          <p:spPr bwMode="gray">
            <a:xfrm>
              <a:off x="2108358" y="1178723"/>
              <a:ext cx="876030" cy="388355"/>
            </a:xfrm>
            <a:prstGeom prst="roundRect">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a:solidFill>
                    <a:schemeClr val="tx2"/>
                  </a:solidFill>
                </a:rPr>
                <a:t>Reference</a:t>
              </a:r>
            </a:p>
            <a:p>
              <a:pPr algn="ctr"/>
              <a:r>
                <a:rPr lang="en-US" sz="900" b="1" dirty="0">
                  <a:solidFill>
                    <a:schemeClr val="tx2"/>
                  </a:solidFill>
                </a:rPr>
                <a:t>Data</a:t>
              </a:r>
            </a:p>
          </p:txBody>
        </p:sp>
        <p:sp>
          <p:nvSpPr>
            <p:cNvPr id="14" name="Oval 13">
              <a:extLst>
                <a:ext uri="{FF2B5EF4-FFF2-40B4-BE49-F238E27FC236}">
                  <a16:creationId xmlns:a16="http://schemas.microsoft.com/office/drawing/2014/main" id="{F6B3E33B-279A-4B57-A0C7-AFD4CB2BA78F}"/>
                </a:ext>
              </a:extLst>
            </p:cNvPr>
            <p:cNvSpPr/>
            <p:nvPr/>
          </p:nvSpPr>
          <p:spPr bwMode="gray">
            <a:xfrm>
              <a:off x="370279" y="1163025"/>
              <a:ext cx="1013907" cy="468331"/>
            </a:xfrm>
            <a:prstGeom prst="ellipse">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a:solidFill>
                    <a:schemeClr val="tx2"/>
                  </a:solidFill>
                </a:rPr>
                <a:t>External </a:t>
              </a:r>
            </a:p>
            <a:p>
              <a:pPr algn="ctr"/>
              <a:r>
                <a:rPr lang="en-US" sz="900" b="1" dirty="0">
                  <a:solidFill>
                    <a:schemeClr val="tx2"/>
                  </a:solidFill>
                </a:rPr>
                <a:t>Data</a:t>
              </a:r>
            </a:p>
          </p:txBody>
        </p:sp>
        <p:cxnSp>
          <p:nvCxnSpPr>
            <p:cNvPr id="20" name="Connector: Elbow 19">
              <a:extLst>
                <a:ext uri="{FF2B5EF4-FFF2-40B4-BE49-F238E27FC236}">
                  <a16:creationId xmlns:a16="http://schemas.microsoft.com/office/drawing/2014/main" id="{348D7C3F-B83C-43A8-9D28-CCC9C4BBB069}"/>
                </a:ext>
              </a:extLst>
            </p:cNvPr>
            <p:cNvCxnSpPr>
              <a:cxnSpLocks/>
              <a:stCxn id="8" idx="2"/>
              <a:endCxn id="7" idx="1"/>
            </p:cNvCxnSpPr>
            <p:nvPr/>
          </p:nvCxnSpPr>
          <p:spPr>
            <a:xfrm rot="16200000" flipH="1">
              <a:off x="896262" y="2628021"/>
              <a:ext cx="211799" cy="4569"/>
            </a:xfrm>
            <a:prstGeom prst="bentConnector3">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a:extLst>
                <a:ext uri="{FF2B5EF4-FFF2-40B4-BE49-F238E27FC236}">
                  <a16:creationId xmlns:a16="http://schemas.microsoft.com/office/drawing/2014/main" id="{241AE13A-CC4B-4DEF-B58D-790536D65968}"/>
                </a:ext>
              </a:extLst>
            </p:cNvPr>
            <p:cNvCxnSpPr>
              <a:cxnSpLocks/>
            </p:cNvCxnSpPr>
            <p:nvPr/>
          </p:nvCxnSpPr>
          <p:spPr>
            <a:xfrm flipH="1">
              <a:off x="636556" y="1615709"/>
              <a:ext cx="2006" cy="55443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8FEF314A-9932-4F10-8E0C-6B6DF5F71CD9}"/>
                </a:ext>
              </a:extLst>
            </p:cNvPr>
            <p:cNvCxnSpPr>
              <a:cxnSpLocks/>
              <a:stCxn id="10" idx="0"/>
              <a:endCxn id="9" idx="2"/>
            </p:cNvCxnSpPr>
            <p:nvPr/>
          </p:nvCxnSpPr>
          <p:spPr>
            <a:xfrm flipV="1">
              <a:off x="2133083" y="2524407"/>
              <a:ext cx="0" cy="30159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44" name="Group 43">
              <a:extLst>
                <a:ext uri="{FF2B5EF4-FFF2-40B4-BE49-F238E27FC236}">
                  <a16:creationId xmlns:a16="http://schemas.microsoft.com/office/drawing/2014/main" id="{309C656C-07A6-4CB9-A6F1-98F2437FD1D2}"/>
                </a:ext>
              </a:extLst>
            </p:cNvPr>
            <p:cNvGrpSpPr/>
            <p:nvPr/>
          </p:nvGrpSpPr>
          <p:grpSpPr>
            <a:xfrm>
              <a:off x="370959" y="1801606"/>
              <a:ext cx="2446689" cy="1515775"/>
              <a:chOff x="370959" y="1801606"/>
              <a:chExt cx="2446689" cy="1515775"/>
            </a:xfrm>
          </p:grpSpPr>
          <p:sp>
            <p:nvSpPr>
              <p:cNvPr id="6" name="Rectangle 5">
                <a:extLst>
                  <a:ext uri="{FF2B5EF4-FFF2-40B4-BE49-F238E27FC236}">
                    <a16:creationId xmlns:a16="http://schemas.microsoft.com/office/drawing/2014/main" id="{46EE6365-81AD-4FCA-A5B9-4F4D0C586289}"/>
                  </a:ext>
                </a:extLst>
              </p:cNvPr>
              <p:cNvSpPr/>
              <p:nvPr/>
            </p:nvSpPr>
            <p:spPr bwMode="gray">
              <a:xfrm>
                <a:off x="370959" y="1801606"/>
                <a:ext cx="2446689" cy="1515775"/>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7" name="Flowchart: Magnetic Disk 6">
                <a:extLst>
                  <a:ext uri="{FF2B5EF4-FFF2-40B4-BE49-F238E27FC236}">
                    <a16:creationId xmlns:a16="http://schemas.microsoft.com/office/drawing/2014/main" id="{CBBEE985-DFA9-4335-84E8-9CC49B0EB534}"/>
                  </a:ext>
                </a:extLst>
              </p:cNvPr>
              <p:cNvSpPr/>
              <p:nvPr/>
            </p:nvSpPr>
            <p:spPr bwMode="gray">
              <a:xfrm>
                <a:off x="635618" y="2736206"/>
                <a:ext cx="737655" cy="469867"/>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a:solidFill>
                      <a:schemeClr val="bg1"/>
                    </a:solidFill>
                  </a:rPr>
                  <a:t>Raw</a:t>
                </a:r>
              </a:p>
              <a:p>
                <a:pPr algn="ctr"/>
                <a:r>
                  <a:rPr lang="en-US" sz="1000">
                    <a:solidFill>
                      <a:schemeClr val="bg1"/>
                    </a:solidFill>
                  </a:rPr>
                  <a:t>Data</a:t>
                </a:r>
              </a:p>
            </p:txBody>
          </p:sp>
          <p:sp>
            <p:nvSpPr>
              <p:cNvPr id="8" name="Rectangle: Rounded Corners 7">
                <a:extLst>
                  <a:ext uri="{FF2B5EF4-FFF2-40B4-BE49-F238E27FC236}">
                    <a16:creationId xmlns:a16="http://schemas.microsoft.com/office/drawing/2014/main" id="{0AEC7480-7499-442D-9B7F-9286FAFB0818}"/>
                  </a:ext>
                </a:extLst>
              </p:cNvPr>
              <p:cNvSpPr/>
              <p:nvPr/>
            </p:nvSpPr>
            <p:spPr bwMode="gray">
              <a:xfrm>
                <a:off x="551200" y="2170145"/>
                <a:ext cx="897354" cy="354262"/>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Ingest</a:t>
                </a:r>
              </a:p>
            </p:txBody>
          </p:sp>
          <p:sp>
            <p:nvSpPr>
              <p:cNvPr id="9" name="Rectangle: Rounded Corners 8">
                <a:extLst>
                  <a:ext uri="{FF2B5EF4-FFF2-40B4-BE49-F238E27FC236}">
                    <a16:creationId xmlns:a16="http://schemas.microsoft.com/office/drawing/2014/main" id="{AD31964D-E5E9-49A2-B1C4-DFCAC54C0BAF}"/>
                  </a:ext>
                </a:extLst>
              </p:cNvPr>
              <p:cNvSpPr/>
              <p:nvPr/>
            </p:nvSpPr>
            <p:spPr bwMode="gray">
              <a:xfrm>
                <a:off x="1684406" y="2170145"/>
                <a:ext cx="897354" cy="354262"/>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Curation</a:t>
                </a:r>
              </a:p>
            </p:txBody>
          </p:sp>
          <p:sp>
            <p:nvSpPr>
              <p:cNvPr id="10" name="Rectangle: Rounded Corners 9">
                <a:extLst>
                  <a:ext uri="{FF2B5EF4-FFF2-40B4-BE49-F238E27FC236}">
                    <a16:creationId xmlns:a16="http://schemas.microsoft.com/office/drawing/2014/main" id="{EE9C9ED5-ABCE-4FDB-86CF-FDFC75DD74BD}"/>
                  </a:ext>
                </a:extLst>
              </p:cNvPr>
              <p:cNvSpPr/>
              <p:nvPr/>
            </p:nvSpPr>
            <p:spPr bwMode="gray">
              <a:xfrm>
                <a:off x="1684406" y="2825997"/>
                <a:ext cx="897354" cy="354262"/>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Rules</a:t>
                </a:r>
              </a:p>
              <a:p>
                <a:pPr algn="ctr"/>
                <a:r>
                  <a:rPr lang="en-US" sz="1000" dirty="0">
                    <a:solidFill>
                      <a:schemeClr val="bg1"/>
                    </a:solidFill>
                  </a:rPr>
                  <a:t>Libraries</a:t>
                </a:r>
              </a:p>
            </p:txBody>
          </p:sp>
          <p:sp>
            <p:nvSpPr>
              <p:cNvPr id="36" name="TextBox 35">
                <a:extLst>
                  <a:ext uri="{FF2B5EF4-FFF2-40B4-BE49-F238E27FC236}">
                    <a16:creationId xmlns:a16="http://schemas.microsoft.com/office/drawing/2014/main" id="{B1C07FB1-E4F7-46B0-9153-B6C0A2878CC2}"/>
                  </a:ext>
                </a:extLst>
              </p:cNvPr>
              <p:cNvSpPr txBox="1"/>
              <p:nvPr/>
            </p:nvSpPr>
            <p:spPr>
              <a:xfrm>
                <a:off x="682824" y="1861030"/>
                <a:ext cx="1881925" cy="169277"/>
              </a:xfrm>
              <a:prstGeom prst="rect">
                <a:avLst/>
              </a:prstGeom>
              <a:noFill/>
            </p:spPr>
            <p:txBody>
              <a:bodyPr wrap="none" lIns="0" tIns="0" rIns="0" bIns="0" rtlCol="0">
                <a:spAutoFit/>
              </a:bodyPr>
              <a:lstStyle/>
              <a:p>
                <a:r>
                  <a:rPr lang="en-US" sz="1100" b="1" dirty="0">
                    <a:solidFill>
                      <a:schemeClr val="tx2"/>
                    </a:solidFill>
                  </a:rPr>
                  <a:t>Siloed External  Data Intake</a:t>
                </a:r>
              </a:p>
            </p:txBody>
          </p:sp>
        </p:grpSp>
        <p:cxnSp>
          <p:nvCxnSpPr>
            <p:cNvPr id="65" name="Straight Arrow Connector 64">
              <a:extLst>
                <a:ext uri="{FF2B5EF4-FFF2-40B4-BE49-F238E27FC236}">
                  <a16:creationId xmlns:a16="http://schemas.microsoft.com/office/drawing/2014/main" id="{9F79DEE4-32EB-4954-BB88-47EAFD90F0F2}"/>
                </a:ext>
              </a:extLst>
            </p:cNvPr>
            <p:cNvCxnSpPr>
              <a:cxnSpLocks/>
            </p:cNvCxnSpPr>
            <p:nvPr/>
          </p:nvCxnSpPr>
          <p:spPr>
            <a:xfrm>
              <a:off x="1744211" y="1591560"/>
              <a:ext cx="0" cy="578585"/>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25" name="Straight Arrow Connector 24">
              <a:extLst>
                <a:ext uri="{FF2B5EF4-FFF2-40B4-BE49-F238E27FC236}">
                  <a16:creationId xmlns:a16="http://schemas.microsoft.com/office/drawing/2014/main" id="{0FD92F1F-404B-4B75-922F-DC7CBDD99712}"/>
                </a:ext>
              </a:extLst>
            </p:cNvPr>
            <p:cNvCxnSpPr>
              <a:cxnSpLocks/>
              <a:stCxn id="12" idx="2"/>
            </p:cNvCxnSpPr>
            <p:nvPr/>
          </p:nvCxnSpPr>
          <p:spPr>
            <a:xfrm flipH="1">
              <a:off x="2544514" y="1567078"/>
              <a:ext cx="1859" cy="60306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217" name="Group 216">
              <a:extLst>
                <a:ext uri="{FF2B5EF4-FFF2-40B4-BE49-F238E27FC236}">
                  <a16:creationId xmlns:a16="http://schemas.microsoft.com/office/drawing/2014/main" id="{9E5C4412-7EC4-487F-854E-0A306D3FA7D8}"/>
                </a:ext>
              </a:extLst>
            </p:cNvPr>
            <p:cNvGrpSpPr/>
            <p:nvPr/>
          </p:nvGrpSpPr>
          <p:grpSpPr>
            <a:xfrm>
              <a:off x="1691560" y="1142463"/>
              <a:ext cx="197486" cy="437182"/>
              <a:chOff x="3427413" y="4927600"/>
              <a:chExt cx="292100" cy="600075"/>
            </a:xfrm>
            <a:solidFill>
              <a:schemeClr val="accent2"/>
            </a:solidFill>
          </p:grpSpPr>
          <p:sp>
            <p:nvSpPr>
              <p:cNvPr id="218" name="Freeform 34">
                <a:extLst>
                  <a:ext uri="{FF2B5EF4-FFF2-40B4-BE49-F238E27FC236}">
                    <a16:creationId xmlns:a16="http://schemas.microsoft.com/office/drawing/2014/main" id="{4885E0D4-E026-4EE0-830D-94AB21A59C92}"/>
                  </a:ext>
                </a:extLst>
              </p:cNvPr>
              <p:cNvSpPr>
                <a:spLocks/>
              </p:cNvSpPr>
              <p:nvPr/>
            </p:nvSpPr>
            <p:spPr bwMode="auto">
              <a:xfrm>
                <a:off x="3548063" y="5235575"/>
                <a:ext cx="55563" cy="55563"/>
              </a:xfrm>
              <a:custGeom>
                <a:avLst/>
                <a:gdLst>
                  <a:gd name="T0" fmla="*/ 9 w 10"/>
                  <a:gd name="T1" fmla="*/ 8 h 10"/>
                  <a:gd name="T2" fmla="*/ 9 w 10"/>
                  <a:gd name="T3" fmla="*/ 8 h 10"/>
                  <a:gd name="T4" fmla="*/ 9 w 10"/>
                  <a:gd name="T5" fmla="*/ 8 h 10"/>
                  <a:gd name="T6" fmla="*/ 10 w 10"/>
                  <a:gd name="T7" fmla="*/ 7 h 10"/>
                  <a:gd name="T8" fmla="*/ 10 w 10"/>
                  <a:gd name="T9" fmla="*/ 7 h 10"/>
                  <a:gd name="T10" fmla="*/ 10 w 10"/>
                  <a:gd name="T11" fmla="*/ 7 h 10"/>
                  <a:gd name="T12" fmla="*/ 10 w 10"/>
                  <a:gd name="T13" fmla="*/ 4 h 10"/>
                  <a:gd name="T14" fmla="*/ 6 w 10"/>
                  <a:gd name="T15" fmla="*/ 0 h 10"/>
                  <a:gd name="T16" fmla="*/ 3 w 10"/>
                  <a:gd name="T17" fmla="*/ 0 h 10"/>
                  <a:gd name="T18" fmla="*/ 0 w 10"/>
                  <a:gd name="T19" fmla="*/ 4 h 10"/>
                  <a:gd name="T20" fmla="*/ 0 w 10"/>
                  <a:gd name="T21" fmla="*/ 7 h 10"/>
                  <a:gd name="T22" fmla="*/ 0 w 10"/>
                  <a:gd name="T23" fmla="*/ 7 h 10"/>
                  <a:gd name="T24" fmla="*/ 0 w 10"/>
                  <a:gd name="T25" fmla="*/ 7 h 10"/>
                  <a:gd name="T26" fmla="*/ 0 w 10"/>
                  <a:gd name="T27" fmla="*/ 8 h 10"/>
                  <a:gd name="T28" fmla="*/ 0 w 10"/>
                  <a:gd name="T29" fmla="*/ 8 h 10"/>
                  <a:gd name="T30" fmla="*/ 0 w 10"/>
                  <a:gd name="T31" fmla="*/ 8 h 10"/>
                  <a:gd name="T32" fmla="*/ 0 w 10"/>
                  <a:gd name="T33" fmla="*/ 9 h 10"/>
                  <a:gd name="T34" fmla="*/ 0 w 10"/>
                  <a:gd name="T35" fmla="*/ 9 h 10"/>
                  <a:gd name="T36" fmla="*/ 1 w 10"/>
                  <a:gd name="T37" fmla="*/ 9 h 10"/>
                  <a:gd name="T38" fmla="*/ 1 w 10"/>
                  <a:gd name="T39" fmla="*/ 9 h 10"/>
                  <a:gd name="T40" fmla="*/ 1 w 10"/>
                  <a:gd name="T41" fmla="*/ 10 h 10"/>
                  <a:gd name="T42" fmla="*/ 2 w 10"/>
                  <a:gd name="T43" fmla="*/ 10 h 10"/>
                  <a:gd name="T44" fmla="*/ 3 w 10"/>
                  <a:gd name="T45" fmla="*/ 10 h 10"/>
                  <a:gd name="T46" fmla="*/ 3 w 10"/>
                  <a:gd name="T47" fmla="*/ 10 h 10"/>
                  <a:gd name="T48" fmla="*/ 6 w 10"/>
                  <a:gd name="T49" fmla="*/ 10 h 10"/>
                  <a:gd name="T50" fmla="*/ 7 w 10"/>
                  <a:gd name="T51" fmla="*/ 10 h 10"/>
                  <a:gd name="T52" fmla="*/ 8 w 10"/>
                  <a:gd name="T53" fmla="*/ 10 h 10"/>
                  <a:gd name="T54" fmla="*/ 8 w 10"/>
                  <a:gd name="T55" fmla="*/ 10 h 10"/>
                  <a:gd name="T56" fmla="*/ 8 w 10"/>
                  <a:gd name="T57" fmla="*/ 9 h 10"/>
                  <a:gd name="T58" fmla="*/ 8 w 10"/>
                  <a:gd name="T59" fmla="*/ 9 h 10"/>
                  <a:gd name="T60" fmla="*/ 9 w 10"/>
                  <a:gd name="T61" fmla="*/ 9 h 10"/>
                  <a:gd name="T62" fmla="*/ 9 w 10"/>
                  <a:gd name="T63" fmla="*/ 9 h 10"/>
                  <a:gd name="T64" fmla="*/ 9 w 10"/>
                  <a:gd name="T6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0">
                    <a:moveTo>
                      <a:pt x="9" y="8"/>
                    </a:moveTo>
                    <a:cubicBezTo>
                      <a:pt x="9" y="8"/>
                      <a:pt x="9" y="8"/>
                      <a:pt x="9" y="8"/>
                    </a:cubicBezTo>
                    <a:cubicBezTo>
                      <a:pt x="9" y="8"/>
                      <a:pt x="9" y="8"/>
                      <a:pt x="9" y="8"/>
                    </a:cubicBezTo>
                    <a:cubicBezTo>
                      <a:pt x="9" y="8"/>
                      <a:pt x="9" y="8"/>
                      <a:pt x="10" y="7"/>
                    </a:cubicBezTo>
                    <a:cubicBezTo>
                      <a:pt x="10" y="7"/>
                      <a:pt x="10" y="7"/>
                      <a:pt x="10" y="7"/>
                    </a:cubicBezTo>
                    <a:cubicBezTo>
                      <a:pt x="10" y="7"/>
                      <a:pt x="10" y="7"/>
                      <a:pt x="10" y="7"/>
                    </a:cubicBezTo>
                    <a:cubicBezTo>
                      <a:pt x="10" y="4"/>
                      <a:pt x="10" y="4"/>
                      <a:pt x="10" y="4"/>
                    </a:cubicBezTo>
                    <a:cubicBezTo>
                      <a:pt x="10" y="2"/>
                      <a:pt x="8" y="0"/>
                      <a:pt x="6" y="0"/>
                    </a:cubicBezTo>
                    <a:cubicBezTo>
                      <a:pt x="3" y="0"/>
                      <a:pt x="3" y="0"/>
                      <a:pt x="3" y="0"/>
                    </a:cubicBezTo>
                    <a:cubicBezTo>
                      <a:pt x="1" y="0"/>
                      <a:pt x="0" y="2"/>
                      <a:pt x="0" y="4"/>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1" y="9"/>
                      <a:pt x="1" y="9"/>
                      <a:pt x="1" y="9"/>
                    </a:cubicBezTo>
                    <a:cubicBezTo>
                      <a:pt x="1" y="9"/>
                      <a:pt x="1" y="9"/>
                      <a:pt x="1" y="9"/>
                    </a:cubicBezTo>
                    <a:cubicBezTo>
                      <a:pt x="1" y="10"/>
                      <a:pt x="1" y="10"/>
                      <a:pt x="1" y="10"/>
                    </a:cubicBezTo>
                    <a:cubicBezTo>
                      <a:pt x="2" y="10"/>
                      <a:pt x="2" y="10"/>
                      <a:pt x="2" y="10"/>
                    </a:cubicBezTo>
                    <a:cubicBezTo>
                      <a:pt x="2" y="10"/>
                      <a:pt x="2" y="10"/>
                      <a:pt x="3" y="10"/>
                    </a:cubicBezTo>
                    <a:cubicBezTo>
                      <a:pt x="3" y="10"/>
                      <a:pt x="3" y="10"/>
                      <a:pt x="3" y="10"/>
                    </a:cubicBezTo>
                    <a:cubicBezTo>
                      <a:pt x="6" y="10"/>
                      <a:pt x="6" y="10"/>
                      <a:pt x="6" y="10"/>
                    </a:cubicBezTo>
                    <a:cubicBezTo>
                      <a:pt x="6" y="10"/>
                      <a:pt x="6" y="10"/>
                      <a:pt x="7" y="10"/>
                    </a:cubicBezTo>
                    <a:cubicBezTo>
                      <a:pt x="7" y="10"/>
                      <a:pt x="7" y="10"/>
                      <a:pt x="8" y="10"/>
                    </a:cubicBezTo>
                    <a:cubicBezTo>
                      <a:pt x="8" y="10"/>
                      <a:pt x="8" y="10"/>
                      <a:pt x="8" y="10"/>
                    </a:cubicBezTo>
                    <a:cubicBezTo>
                      <a:pt x="8" y="10"/>
                      <a:pt x="8" y="10"/>
                      <a:pt x="8" y="9"/>
                    </a:cubicBezTo>
                    <a:cubicBezTo>
                      <a:pt x="8" y="9"/>
                      <a:pt x="8" y="9"/>
                      <a:pt x="8" y="9"/>
                    </a:cubicBezTo>
                    <a:cubicBezTo>
                      <a:pt x="8" y="9"/>
                      <a:pt x="9" y="9"/>
                      <a:pt x="9" y="9"/>
                    </a:cubicBezTo>
                    <a:cubicBezTo>
                      <a:pt x="9" y="9"/>
                      <a:pt x="9" y="9"/>
                      <a:pt x="9" y="9"/>
                    </a:cubicBezTo>
                    <a:cubicBezTo>
                      <a:pt x="9" y="9"/>
                      <a:pt x="9" y="8"/>
                      <a:pt x="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219" name="Oval 35">
                <a:extLst>
                  <a:ext uri="{FF2B5EF4-FFF2-40B4-BE49-F238E27FC236}">
                    <a16:creationId xmlns:a16="http://schemas.microsoft.com/office/drawing/2014/main" id="{C86CD5BA-9336-46BA-AB72-0ED5CC47E610}"/>
                  </a:ext>
                </a:extLst>
              </p:cNvPr>
              <p:cNvSpPr>
                <a:spLocks noChangeArrowheads="1"/>
              </p:cNvSpPr>
              <p:nvPr/>
            </p:nvSpPr>
            <p:spPr bwMode="auto">
              <a:xfrm>
                <a:off x="3427413" y="4927600"/>
                <a:ext cx="292100" cy="29210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220" name="Freeform 36">
                <a:extLst>
                  <a:ext uri="{FF2B5EF4-FFF2-40B4-BE49-F238E27FC236}">
                    <a16:creationId xmlns:a16="http://schemas.microsoft.com/office/drawing/2014/main" id="{72F32D43-1626-425D-B770-7523AEA819FA}"/>
                  </a:ext>
                </a:extLst>
              </p:cNvPr>
              <p:cNvSpPr>
                <a:spLocks noEditPoints="1"/>
              </p:cNvSpPr>
              <p:nvPr/>
            </p:nvSpPr>
            <p:spPr bwMode="auto">
              <a:xfrm>
                <a:off x="3427413" y="5251450"/>
                <a:ext cx="292100" cy="276225"/>
              </a:xfrm>
              <a:custGeom>
                <a:avLst/>
                <a:gdLst>
                  <a:gd name="T0" fmla="*/ 53 w 53"/>
                  <a:gd name="T1" fmla="*/ 21 h 50"/>
                  <a:gd name="T2" fmla="*/ 43 w 53"/>
                  <a:gd name="T3" fmla="*/ 0 h 50"/>
                  <a:gd name="T4" fmla="*/ 30 w 53"/>
                  <a:gd name="T5" fmla="*/ 16 h 50"/>
                  <a:gd name="T6" fmla="*/ 29 w 53"/>
                  <a:gd name="T7" fmla="*/ 9 h 50"/>
                  <a:gd name="T8" fmla="*/ 28 w 53"/>
                  <a:gd name="T9" fmla="*/ 9 h 50"/>
                  <a:gd name="T10" fmla="*/ 25 w 53"/>
                  <a:gd name="T11" fmla="*/ 9 h 50"/>
                  <a:gd name="T12" fmla="*/ 24 w 53"/>
                  <a:gd name="T13" fmla="*/ 9 h 50"/>
                  <a:gd name="T14" fmla="*/ 23 w 53"/>
                  <a:gd name="T15" fmla="*/ 16 h 50"/>
                  <a:gd name="T16" fmla="*/ 10 w 53"/>
                  <a:gd name="T17" fmla="*/ 0 h 50"/>
                  <a:gd name="T18" fmla="*/ 0 w 53"/>
                  <a:gd name="T19" fmla="*/ 21 h 50"/>
                  <a:gd name="T20" fmla="*/ 0 w 53"/>
                  <a:gd name="T21" fmla="*/ 21 h 50"/>
                  <a:gd name="T22" fmla="*/ 0 w 53"/>
                  <a:gd name="T23" fmla="*/ 50 h 50"/>
                  <a:gd name="T24" fmla="*/ 53 w 53"/>
                  <a:gd name="T25" fmla="*/ 50 h 50"/>
                  <a:gd name="T26" fmla="*/ 53 w 53"/>
                  <a:gd name="T27" fmla="*/ 21 h 50"/>
                  <a:gd name="T28" fmla="*/ 47 w 53"/>
                  <a:gd name="T29" fmla="*/ 27 h 50"/>
                  <a:gd name="T30" fmla="*/ 33 w 53"/>
                  <a:gd name="T31" fmla="*/ 27 h 50"/>
                  <a:gd name="T32" fmla="*/ 33 w 53"/>
                  <a:gd name="T33" fmla="*/ 24 h 50"/>
                  <a:gd name="T34" fmla="*/ 47 w 53"/>
                  <a:gd name="T35" fmla="*/ 24 h 50"/>
                  <a:gd name="T36" fmla="*/ 47 w 53"/>
                  <a:gd name="T37" fmla="*/ 26 h 50"/>
                  <a:gd name="T38" fmla="*/ 47 w 53"/>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50">
                    <a:moveTo>
                      <a:pt x="53" y="21"/>
                    </a:moveTo>
                    <a:cubicBezTo>
                      <a:pt x="53" y="12"/>
                      <a:pt x="49" y="5"/>
                      <a:pt x="43" y="0"/>
                    </a:cubicBezTo>
                    <a:cubicBezTo>
                      <a:pt x="30" y="16"/>
                      <a:pt x="30" y="16"/>
                      <a:pt x="30" y="16"/>
                    </a:cubicBezTo>
                    <a:cubicBezTo>
                      <a:pt x="29" y="9"/>
                      <a:pt x="29" y="9"/>
                      <a:pt x="29" y="9"/>
                    </a:cubicBezTo>
                    <a:cubicBezTo>
                      <a:pt x="29" y="9"/>
                      <a:pt x="28" y="9"/>
                      <a:pt x="28" y="9"/>
                    </a:cubicBezTo>
                    <a:cubicBezTo>
                      <a:pt x="25" y="9"/>
                      <a:pt x="25" y="9"/>
                      <a:pt x="25" y="9"/>
                    </a:cubicBezTo>
                    <a:cubicBezTo>
                      <a:pt x="25" y="9"/>
                      <a:pt x="24" y="9"/>
                      <a:pt x="24" y="9"/>
                    </a:cubicBezTo>
                    <a:cubicBezTo>
                      <a:pt x="23" y="16"/>
                      <a:pt x="23" y="16"/>
                      <a:pt x="23" y="16"/>
                    </a:cubicBezTo>
                    <a:cubicBezTo>
                      <a:pt x="10" y="0"/>
                      <a:pt x="10" y="0"/>
                      <a:pt x="10" y="0"/>
                    </a:cubicBezTo>
                    <a:cubicBezTo>
                      <a:pt x="4" y="5"/>
                      <a:pt x="0" y="12"/>
                      <a:pt x="0" y="21"/>
                    </a:cubicBezTo>
                    <a:cubicBezTo>
                      <a:pt x="0" y="21"/>
                      <a:pt x="0" y="21"/>
                      <a:pt x="0" y="21"/>
                    </a:cubicBezTo>
                    <a:cubicBezTo>
                      <a:pt x="0" y="50"/>
                      <a:pt x="0" y="50"/>
                      <a:pt x="0" y="50"/>
                    </a:cubicBezTo>
                    <a:cubicBezTo>
                      <a:pt x="53" y="50"/>
                      <a:pt x="53" y="50"/>
                      <a:pt x="53" y="50"/>
                    </a:cubicBezTo>
                    <a:cubicBezTo>
                      <a:pt x="53" y="21"/>
                      <a:pt x="53" y="21"/>
                      <a:pt x="53" y="21"/>
                    </a:cubicBezTo>
                    <a:close/>
                    <a:moveTo>
                      <a:pt x="47" y="27"/>
                    </a:moveTo>
                    <a:cubicBezTo>
                      <a:pt x="33" y="27"/>
                      <a:pt x="33" y="27"/>
                      <a:pt x="33" y="27"/>
                    </a:cubicBezTo>
                    <a:cubicBezTo>
                      <a:pt x="33" y="24"/>
                      <a:pt x="33" y="24"/>
                      <a:pt x="33" y="24"/>
                    </a:cubicBezTo>
                    <a:cubicBezTo>
                      <a:pt x="47" y="24"/>
                      <a:pt x="47" y="24"/>
                      <a:pt x="47" y="24"/>
                    </a:cubicBezTo>
                    <a:cubicBezTo>
                      <a:pt x="47" y="26"/>
                      <a:pt x="47" y="26"/>
                      <a:pt x="47" y="26"/>
                    </a:cubicBezTo>
                    <a:lnTo>
                      <a:pt x="47" y="27"/>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grpSp>
      <p:sp>
        <p:nvSpPr>
          <p:cNvPr id="51" name="TextBox 50">
            <a:extLst>
              <a:ext uri="{FF2B5EF4-FFF2-40B4-BE49-F238E27FC236}">
                <a16:creationId xmlns:a16="http://schemas.microsoft.com/office/drawing/2014/main" id="{7C2DA789-4AEE-438D-B6B0-82E1F6EC2C72}"/>
              </a:ext>
            </a:extLst>
          </p:cNvPr>
          <p:cNvSpPr txBox="1"/>
          <p:nvPr/>
        </p:nvSpPr>
        <p:spPr>
          <a:xfrm>
            <a:off x="8056655" y="1515492"/>
            <a:ext cx="2067874" cy="200055"/>
          </a:xfrm>
          <a:prstGeom prst="rect">
            <a:avLst/>
          </a:prstGeom>
          <a:noFill/>
        </p:spPr>
        <p:txBody>
          <a:bodyPr wrap="none" lIns="0" tIns="0" rIns="0" bIns="0" rtlCol="0">
            <a:spAutoFit/>
          </a:bodyPr>
          <a:lstStyle/>
          <a:p>
            <a:r>
              <a:rPr lang="en-US" sz="1300" b="1" dirty="0">
                <a:solidFill>
                  <a:schemeClr val="tx2"/>
                </a:solidFill>
              </a:rPr>
              <a:t>Sample Data Consumers*</a:t>
            </a:r>
          </a:p>
        </p:txBody>
      </p:sp>
      <p:cxnSp>
        <p:nvCxnSpPr>
          <p:cNvPr id="58" name="Straight Connector 57">
            <a:extLst>
              <a:ext uri="{FF2B5EF4-FFF2-40B4-BE49-F238E27FC236}">
                <a16:creationId xmlns:a16="http://schemas.microsoft.com/office/drawing/2014/main" id="{61486903-F490-4189-A8DE-CBD91F459B18}"/>
              </a:ext>
            </a:extLst>
          </p:cNvPr>
          <p:cNvCxnSpPr>
            <a:cxnSpLocks/>
          </p:cNvCxnSpPr>
          <p:nvPr/>
        </p:nvCxnSpPr>
        <p:spPr>
          <a:xfrm>
            <a:off x="6225207" y="1107970"/>
            <a:ext cx="0" cy="5508605"/>
          </a:xfrm>
          <a:prstGeom prst="line">
            <a:avLst/>
          </a:prstGeom>
          <a:ln w="19050" cmpd="sng">
            <a:solidFill>
              <a:srgbClr val="646464"/>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F66EDE4A-AF54-497E-AA3A-ED75EB308B47}"/>
              </a:ext>
            </a:extLst>
          </p:cNvPr>
          <p:cNvSpPr/>
          <p:nvPr/>
        </p:nvSpPr>
        <p:spPr bwMode="gray">
          <a:xfrm>
            <a:off x="1561520" y="4996647"/>
            <a:ext cx="2913151" cy="121083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200" b="1">
              <a:solidFill>
                <a:schemeClr val="tx2"/>
              </a:solidFill>
            </a:endParaRPr>
          </a:p>
        </p:txBody>
      </p:sp>
      <p:sp>
        <p:nvSpPr>
          <p:cNvPr id="72" name="Flowchart: Magnetic Disk 71">
            <a:extLst>
              <a:ext uri="{FF2B5EF4-FFF2-40B4-BE49-F238E27FC236}">
                <a16:creationId xmlns:a16="http://schemas.microsoft.com/office/drawing/2014/main" id="{755C4D52-BA4F-40BD-8453-CA0A98E07E6A}"/>
              </a:ext>
            </a:extLst>
          </p:cNvPr>
          <p:cNvSpPr/>
          <p:nvPr/>
        </p:nvSpPr>
        <p:spPr bwMode="gray">
          <a:xfrm>
            <a:off x="2344079" y="5523176"/>
            <a:ext cx="1317582" cy="596361"/>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bg1"/>
                </a:solidFill>
              </a:rPr>
              <a:t>External Data</a:t>
            </a:r>
          </a:p>
          <a:p>
            <a:pPr algn="ctr"/>
            <a:r>
              <a:rPr lang="en-US" sz="1200" dirty="0">
                <a:solidFill>
                  <a:schemeClr val="bg1"/>
                </a:solidFill>
              </a:rPr>
              <a:t>Index Store</a:t>
            </a:r>
          </a:p>
        </p:txBody>
      </p:sp>
      <p:sp>
        <p:nvSpPr>
          <p:cNvPr id="73" name="TextBox 72">
            <a:extLst>
              <a:ext uri="{FF2B5EF4-FFF2-40B4-BE49-F238E27FC236}">
                <a16:creationId xmlns:a16="http://schemas.microsoft.com/office/drawing/2014/main" id="{6B58DCA2-0F91-47AB-B323-03712FEA0FE5}"/>
              </a:ext>
            </a:extLst>
          </p:cNvPr>
          <p:cNvSpPr txBox="1"/>
          <p:nvPr/>
        </p:nvSpPr>
        <p:spPr>
          <a:xfrm>
            <a:off x="1656977" y="5060700"/>
            <a:ext cx="2705195" cy="384721"/>
          </a:xfrm>
          <a:prstGeom prst="rect">
            <a:avLst/>
          </a:prstGeom>
          <a:noFill/>
        </p:spPr>
        <p:txBody>
          <a:bodyPr wrap="square" lIns="0" tIns="0" rIns="0" bIns="0" rtlCol="0">
            <a:spAutoFit/>
          </a:bodyPr>
          <a:lstStyle/>
          <a:p>
            <a:pPr algn="ctr"/>
            <a:r>
              <a:rPr lang="en-US" sz="1300" b="1" dirty="0">
                <a:solidFill>
                  <a:schemeClr val="tx2"/>
                </a:solidFill>
              </a:rPr>
              <a:t>External Data Index Service</a:t>
            </a:r>
          </a:p>
          <a:p>
            <a:pPr algn="ctr"/>
            <a:r>
              <a:rPr lang="en-US" sz="1200" b="1" i="1" dirty="0">
                <a:solidFill>
                  <a:schemeClr val="tx2"/>
                </a:solidFill>
              </a:rPr>
              <a:t>(EDIS)</a:t>
            </a:r>
          </a:p>
        </p:txBody>
      </p:sp>
      <p:sp>
        <p:nvSpPr>
          <p:cNvPr id="74" name="Oval 73">
            <a:extLst>
              <a:ext uri="{FF2B5EF4-FFF2-40B4-BE49-F238E27FC236}">
                <a16:creationId xmlns:a16="http://schemas.microsoft.com/office/drawing/2014/main" id="{3E352E4C-F871-4DE5-97D8-22EF4671E28B}"/>
              </a:ext>
            </a:extLst>
          </p:cNvPr>
          <p:cNvSpPr/>
          <p:nvPr/>
        </p:nvSpPr>
        <p:spPr bwMode="gray">
          <a:xfrm>
            <a:off x="3875303" y="4236267"/>
            <a:ext cx="1325695" cy="558023"/>
          </a:xfrm>
          <a:prstGeom prst="ellipse">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b="1" dirty="0">
                <a:solidFill>
                  <a:schemeClr val="tx2"/>
                </a:solidFill>
              </a:rPr>
              <a:t>EDIS</a:t>
            </a:r>
          </a:p>
          <a:p>
            <a:pPr algn="ctr"/>
            <a:r>
              <a:rPr lang="en-US" sz="1100" b="1" dirty="0">
                <a:solidFill>
                  <a:schemeClr val="tx2"/>
                </a:solidFill>
              </a:rPr>
              <a:t>File Interface</a:t>
            </a:r>
          </a:p>
        </p:txBody>
      </p:sp>
      <p:sp>
        <p:nvSpPr>
          <p:cNvPr id="75" name="Oval 74">
            <a:extLst>
              <a:ext uri="{FF2B5EF4-FFF2-40B4-BE49-F238E27FC236}">
                <a16:creationId xmlns:a16="http://schemas.microsoft.com/office/drawing/2014/main" id="{85D18E3F-6299-4B81-96FC-2205DA172E35}"/>
              </a:ext>
            </a:extLst>
          </p:cNvPr>
          <p:cNvSpPr/>
          <p:nvPr/>
        </p:nvSpPr>
        <p:spPr bwMode="gray">
          <a:xfrm>
            <a:off x="711676" y="4236267"/>
            <a:ext cx="1325695" cy="558023"/>
          </a:xfrm>
          <a:prstGeom prst="ellipse">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b="1" dirty="0">
                <a:solidFill>
                  <a:schemeClr val="tx2"/>
                </a:solidFill>
              </a:rPr>
              <a:t>EDIS</a:t>
            </a:r>
          </a:p>
          <a:p>
            <a:pPr algn="ctr"/>
            <a:r>
              <a:rPr lang="en-US" sz="1100" b="1" dirty="0">
                <a:solidFill>
                  <a:schemeClr val="tx2"/>
                </a:solidFill>
              </a:rPr>
              <a:t>APIs</a:t>
            </a:r>
          </a:p>
        </p:txBody>
      </p:sp>
      <p:sp>
        <p:nvSpPr>
          <p:cNvPr id="79" name="Freeform 22">
            <a:extLst>
              <a:ext uri="{FF2B5EF4-FFF2-40B4-BE49-F238E27FC236}">
                <a16:creationId xmlns:a16="http://schemas.microsoft.com/office/drawing/2014/main" id="{901CAB42-4BF6-44D7-9F69-E15BFDC2F724}"/>
              </a:ext>
            </a:extLst>
          </p:cNvPr>
          <p:cNvSpPr>
            <a:spLocks noEditPoints="1"/>
          </p:cNvSpPr>
          <p:nvPr/>
        </p:nvSpPr>
        <p:spPr bwMode="auto">
          <a:xfrm>
            <a:off x="752901" y="5266972"/>
            <a:ext cx="547275" cy="552689"/>
          </a:xfrm>
          <a:custGeom>
            <a:avLst/>
            <a:gdLst/>
            <a:ahLst/>
            <a:cxnLst>
              <a:cxn ang="0">
                <a:pos x="148" y="244"/>
              </a:cxn>
              <a:cxn ang="0">
                <a:pos x="119" y="225"/>
              </a:cxn>
              <a:cxn ang="0">
                <a:pos x="129" y="243"/>
              </a:cxn>
              <a:cxn ang="0">
                <a:pos x="18" y="118"/>
              </a:cxn>
              <a:cxn ang="0">
                <a:pos x="4" y="117"/>
              </a:cxn>
              <a:cxn ang="0">
                <a:pos x="128" y="257"/>
              </a:cxn>
              <a:cxn ang="0">
                <a:pos x="120" y="266"/>
              </a:cxn>
              <a:cxn ang="0">
                <a:pos x="125" y="277"/>
              </a:cxn>
              <a:cxn ang="0">
                <a:pos x="149" y="254"/>
              </a:cxn>
              <a:cxn ang="0">
                <a:pos x="149" y="245"/>
              </a:cxn>
              <a:cxn ang="0">
                <a:pos x="221" y="55"/>
              </a:cxn>
              <a:cxn ang="0">
                <a:pos x="219" y="55"/>
              </a:cxn>
              <a:cxn ang="0">
                <a:pos x="217" y="55"/>
              </a:cxn>
              <a:cxn ang="0">
                <a:pos x="216" y="56"/>
              </a:cxn>
              <a:cxn ang="0">
                <a:pos x="215" y="57"/>
              </a:cxn>
              <a:cxn ang="0">
                <a:pos x="213" y="59"/>
              </a:cxn>
              <a:cxn ang="0">
                <a:pos x="206" y="87"/>
              </a:cxn>
              <a:cxn ang="0">
                <a:pos x="213" y="95"/>
              </a:cxn>
              <a:cxn ang="0">
                <a:pos x="222" y="76"/>
              </a:cxn>
              <a:cxn ang="0">
                <a:pos x="169" y="235"/>
              </a:cxn>
              <a:cxn ang="0">
                <a:pos x="172" y="247"/>
              </a:cxn>
              <a:cxn ang="0">
                <a:pos x="203" y="230"/>
              </a:cxn>
              <a:cxn ang="0">
                <a:pos x="247" y="74"/>
              </a:cxn>
              <a:cxn ang="0">
                <a:pos x="249" y="61"/>
              </a:cxn>
              <a:cxn ang="0">
                <a:pos x="208" y="167"/>
              </a:cxn>
              <a:cxn ang="0">
                <a:pos x="205" y="146"/>
              </a:cxn>
              <a:cxn ang="0">
                <a:pos x="151" y="126"/>
              </a:cxn>
              <a:cxn ang="0">
                <a:pos x="104" y="126"/>
              </a:cxn>
              <a:cxn ang="0">
                <a:pos x="50" y="146"/>
              </a:cxn>
              <a:cxn ang="0">
                <a:pos x="46" y="167"/>
              </a:cxn>
              <a:cxn ang="0">
                <a:pos x="77" y="177"/>
              </a:cxn>
              <a:cxn ang="0">
                <a:pos x="85" y="210"/>
              </a:cxn>
              <a:cxn ang="0">
                <a:pos x="110" y="216"/>
              </a:cxn>
              <a:cxn ang="0">
                <a:pos x="141" y="220"/>
              </a:cxn>
              <a:cxn ang="0">
                <a:pos x="168" y="177"/>
              </a:cxn>
              <a:cxn ang="0">
                <a:pos x="182" y="202"/>
              </a:cxn>
              <a:cxn ang="0">
                <a:pos x="127" y="45"/>
              </a:cxn>
              <a:cxn ang="0">
                <a:pos x="127" y="115"/>
              </a:cxn>
              <a:cxn ang="0">
                <a:pos x="4" y="64"/>
              </a:cxn>
              <a:cxn ang="0">
                <a:pos x="17" y="60"/>
              </a:cxn>
              <a:cxn ang="0">
                <a:pos x="51" y="36"/>
              </a:cxn>
              <a:cxn ang="0">
                <a:pos x="204" y="44"/>
              </a:cxn>
              <a:cxn ang="0">
                <a:pos x="59" y="46"/>
              </a:cxn>
              <a:cxn ang="0">
                <a:pos x="44" y="75"/>
              </a:cxn>
              <a:cxn ang="0">
                <a:pos x="48" y="88"/>
              </a:cxn>
              <a:cxn ang="0">
                <a:pos x="19" y="96"/>
              </a:cxn>
              <a:cxn ang="0">
                <a:pos x="17" y="96"/>
              </a:cxn>
              <a:cxn ang="0">
                <a:pos x="15" y="95"/>
              </a:cxn>
              <a:cxn ang="0">
                <a:pos x="14" y="95"/>
              </a:cxn>
              <a:cxn ang="0">
                <a:pos x="13" y="93"/>
              </a:cxn>
              <a:cxn ang="0">
                <a:pos x="12" y="91"/>
              </a:cxn>
            </a:cxnLst>
            <a:rect l="0" t="0" r="r" b="b"/>
            <a:pathLst>
              <a:path w="265" h="277">
                <a:moveTo>
                  <a:pt x="149" y="245"/>
                </a:moveTo>
                <a:cubicBezTo>
                  <a:pt x="149" y="245"/>
                  <a:pt x="149" y="244"/>
                  <a:pt x="148" y="244"/>
                </a:cubicBezTo>
                <a:cubicBezTo>
                  <a:pt x="128" y="224"/>
                  <a:pt x="128" y="224"/>
                  <a:pt x="128" y="224"/>
                </a:cubicBezTo>
                <a:cubicBezTo>
                  <a:pt x="125" y="222"/>
                  <a:pt x="121" y="222"/>
                  <a:pt x="119" y="225"/>
                </a:cubicBezTo>
                <a:cubicBezTo>
                  <a:pt x="116" y="227"/>
                  <a:pt x="116" y="231"/>
                  <a:pt x="119" y="234"/>
                </a:cubicBezTo>
                <a:cubicBezTo>
                  <a:pt x="129" y="243"/>
                  <a:pt x="129" y="243"/>
                  <a:pt x="129" y="243"/>
                </a:cubicBezTo>
                <a:cubicBezTo>
                  <a:pt x="95" y="244"/>
                  <a:pt x="62" y="228"/>
                  <a:pt x="41" y="201"/>
                </a:cubicBezTo>
                <a:cubicBezTo>
                  <a:pt x="22" y="178"/>
                  <a:pt x="13" y="148"/>
                  <a:pt x="18" y="118"/>
                </a:cubicBezTo>
                <a:cubicBezTo>
                  <a:pt x="19" y="115"/>
                  <a:pt x="15" y="112"/>
                  <a:pt x="12" y="111"/>
                </a:cubicBezTo>
                <a:cubicBezTo>
                  <a:pt x="8" y="111"/>
                  <a:pt x="5" y="113"/>
                  <a:pt x="4" y="117"/>
                </a:cubicBezTo>
                <a:cubicBezTo>
                  <a:pt x="0" y="150"/>
                  <a:pt x="9" y="183"/>
                  <a:pt x="31" y="209"/>
                </a:cubicBezTo>
                <a:cubicBezTo>
                  <a:pt x="54" y="239"/>
                  <a:pt x="90" y="257"/>
                  <a:pt x="128" y="257"/>
                </a:cubicBezTo>
                <a:cubicBezTo>
                  <a:pt x="128" y="257"/>
                  <a:pt x="128" y="257"/>
                  <a:pt x="128" y="257"/>
                </a:cubicBezTo>
                <a:cubicBezTo>
                  <a:pt x="120" y="266"/>
                  <a:pt x="120" y="266"/>
                  <a:pt x="120" y="266"/>
                </a:cubicBezTo>
                <a:cubicBezTo>
                  <a:pt x="117" y="269"/>
                  <a:pt x="118" y="273"/>
                  <a:pt x="120" y="275"/>
                </a:cubicBezTo>
                <a:cubicBezTo>
                  <a:pt x="121" y="276"/>
                  <a:pt x="123" y="277"/>
                  <a:pt x="125" y="277"/>
                </a:cubicBezTo>
                <a:cubicBezTo>
                  <a:pt x="126" y="277"/>
                  <a:pt x="128" y="276"/>
                  <a:pt x="129" y="275"/>
                </a:cubicBezTo>
                <a:cubicBezTo>
                  <a:pt x="149" y="254"/>
                  <a:pt x="149" y="254"/>
                  <a:pt x="149" y="254"/>
                </a:cubicBezTo>
                <a:cubicBezTo>
                  <a:pt x="150" y="253"/>
                  <a:pt x="151" y="251"/>
                  <a:pt x="150" y="248"/>
                </a:cubicBezTo>
                <a:cubicBezTo>
                  <a:pt x="150" y="247"/>
                  <a:pt x="150" y="246"/>
                  <a:pt x="149" y="245"/>
                </a:cubicBezTo>
                <a:close/>
                <a:moveTo>
                  <a:pt x="249" y="61"/>
                </a:moveTo>
                <a:cubicBezTo>
                  <a:pt x="221" y="55"/>
                  <a:pt x="221" y="55"/>
                  <a:pt x="221" y="55"/>
                </a:cubicBezTo>
                <a:cubicBezTo>
                  <a:pt x="221" y="55"/>
                  <a:pt x="221" y="55"/>
                  <a:pt x="220" y="55"/>
                </a:cubicBezTo>
                <a:cubicBezTo>
                  <a:pt x="220" y="55"/>
                  <a:pt x="220" y="55"/>
                  <a:pt x="219" y="55"/>
                </a:cubicBezTo>
                <a:cubicBezTo>
                  <a:pt x="218" y="55"/>
                  <a:pt x="218" y="55"/>
                  <a:pt x="218" y="55"/>
                </a:cubicBezTo>
                <a:cubicBezTo>
                  <a:pt x="217" y="55"/>
                  <a:pt x="217" y="55"/>
                  <a:pt x="217" y="55"/>
                </a:cubicBezTo>
                <a:cubicBezTo>
                  <a:pt x="216" y="55"/>
                  <a:pt x="216" y="55"/>
                  <a:pt x="216" y="55"/>
                </a:cubicBezTo>
                <a:cubicBezTo>
                  <a:pt x="216" y="56"/>
                  <a:pt x="216" y="56"/>
                  <a:pt x="216" y="56"/>
                </a:cubicBezTo>
                <a:cubicBezTo>
                  <a:pt x="215" y="56"/>
                  <a:pt x="215" y="56"/>
                  <a:pt x="215" y="56"/>
                </a:cubicBezTo>
                <a:cubicBezTo>
                  <a:pt x="215" y="56"/>
                  <a:pt x="215" y="56"/>
                  <a:pt x="215" y="57"/>
                </a:cubicBezTo>
                <a:cubicBezTo>
                  <a:pt x="215" y="57"/>
                  <a:pt x="214" y="57"/>
                  <a:pt x="214" y="58"/>
                </a:cubicBezTo>
                <a:cubicBezTo>
                  <a:pt x="214" y="58"/>
                  <a:pt x="214" y="58"/>
                  <a:pt x="213" y="59"/>
                </a:cubicBezTo>
                <a:cubicBezTo>
                  <a:pt x="213" y="59"/>
                  <a:pt x="213" y="59"/>
                  <a:pt x="213" y="59"/>
                </a:cubicBezTo>
                <a:cubicBezTo>
                  <a:pt x="206" y="87"/>
                  <a:pt x="206" y="87"/>
                  <a:pt x="206" y="87"/>
                </a:cubicBezTo>
                <a:cubicBezTo>
                  <a:pt x="206" y="91"/>
                  <a:pt x="208" y="94"/>
                  <a:pt x="211" y="95"/>
                </a:cubicBezTo>
                <a:cubicBezTo>
                  <a:pt x="212" y="95"/>
                  <a:pt x="212" y="95"/>
                  <a:pt x="213" y="95"/>
                </a:cubicBezTo>
                <a:cubicBezTo>
                  <a:pt x="216" y="95"/>
                  <a:pt x="218" y="93"/>
                  <a:pt x="219" y="90"/>
                </a:cubicBezTo>
                <a:cubicBezTo>
                  <a:pt x="222" y="76"/>
                  <a:pt x="222" y="76"/>
                  <a:pt x="222" y="76"/>
                </a:cubicBezTo>
                <a:cubicBezTo>
                  <a:pt x="251" y="123"/>
                  <a:pt x="241" y="185"/>
                  <a:pt x="196" y="220"/>
                </a:cubicBezTo>
                <a:cubicBezTo>
                  <a:pt x="188" y="226"/>
                  <a:pt x="179" y="231"/>
                  <a:pt x="169" y="235"/>
                </a:cubicBezTo>
                <a:cubicBezTo>
                  <a:pt x="166" y="236"/>
                  <a:pt x="165" y="240"/>
                  <a:pt x="166" y="243"/>
                </a:cubicBezTo>
                <a:cubicBezTo>
                  <a:pt x="167" y="246"/>
                  <a:pt x="169" y="247"/>
                  <a:pt x="172" y="247"/>
                </a:cubicBezTo>
                <a:cubicBezTo>
                  <a:pt x="173" y="247"/>
                  <a:pt x="173" y="247"/>
                  <a:pt x="174" y="247"/>
                </a:cubicBezTo>
                <a:cubicBezTo>
                  <a:pt x="185" y="243"/>
                  <a:pt x="195" y="237"/>
                  <a:pt x="203" y="230"/>
                </a:cubicBezTo>
                <a:cubicBezTo>
                  <a:pt x="253" y="191"/>
                  <a:pt x="265" y="123"/>
                  <a:pt x="235" y="71"/>
                </a:cubicBezTo>
                <a:cubicBezTo>
                  <a:pt x="247" y="74"/>
                  <a:pt x="247" y="74"/>
                  <a:pt x="247" y="74"/>
                </a:cubicBezTo>
                <a:cubicBezTo>
                  <a:pt x="250" y="75"/>
                  <a:pt x="253" y="72"/>
                  <a:pt x="254" y="69"/>
                </a:cubicBezTo>
                <a:cubicBezTo>
                  <a:pt x="255" y="66"/>
                  <a:pt x="253" y="62"/>
                  <a:pt x="249" y="61"/>
                </a:cubicBezTo>
                <a:close/>
                <a:moveTo>
                  <a:pt x="182" y="202"/>
                </a:moveTo>
                <a:cubicBezTo>
                  <a:pt x="193" y="193"/>
                  <a:pt x="203" y="181"/>
                  <a:pt x="208" y="167"/>
                </a:cubicBezTo>
                <a:cubicBezTo>
                  <a:pt x="205" y="148"/>
                  <a:pt x="205" y="148"/>
                  <a:pt x="205" y="148"/>
                </a:cubicBezTo>
                <a:cubicBezTo>
                  <a:pt x="205" y="148"/>
                  <a:pt x="205" y="147"/>
                  <a:pt x="205" y="146"/>
                </a:cubicBezTo>
                <a:cubicBezTo>
                  <a:pt x="201" y="134"/>
                  <a:pt x="189" y="126"/>
                  <a:pt x="175" y="126"/>
                </a:cubicBezTo>
                <a:cubicBezTo>
                  <a:pt x="151" y="126"/>
                  <a:pt x="151" y="126"/>
                  <a:pt x="151" y="126"/>
                </a:cubicBezTo>
                <a:cubicBezTo>
                  <a:pt x="128" y="156"/>
                  <a:pt x="128" y="156"/>
                  <a:pt x="128" y="156"/>
                </a:cubicBezTo>
                <a:cubicBezTo>
                  <a:pt x="104" y="126"/>
                  <a:pt x="104" y="126"/>
                  <a:pt x="104" y="126"/>
                </a:cubicBezTo>
                <a:cubicBezTo>
                  <a:pt x="80" y="126"/>
                  <a:pt x="80" y="126"/>
                  <a:pt x="80" y="126"/>
                </a:cubicBezTo>
                <a:cubicBezTo>
                  <a:pt x="66" y="126"/>
                  <a:pt x="54" y="134"/>
                  <a:pt x="50" y="146"/>
                </a:cubicBezTo>
                <a:cubicBezTo>
                  <a:pt x="50" y="147"/>
                  <a:pt x="50" y="148"/>
                  <a:pt x="50" y="148"/>
                </a:cubicBezTo>
                <a:cubicBezTo>
                  <a:pt x="46" y="167"/>
                  <a:pt x="46" y="167"/>
                  <a:pt x="46" y="167"/>
                </a:cubicBezTo>
                <a:cubicBezTo>
                  <a:pt x="52" y="181"/>
                  <a:pt x="61" y="193"/>
                  <a:pt x="73" y="202"/>
                </a:cubicBezTo>
                <a:cubicBezTo>
                  <a:pt x="77" y="177"/>
                  <a:pt x="77" y="177"/>
                  <a:pt x="77" y="177"/>
                </a:cubicBezTo>
                <a:cubicBezTo>
                  <a:pt x="86" y="177"/>
                  <a:pt x="86" y="177"/>
                  <a:pt x="86" y="177"/>
                </a:cubicBezTo>
                <a:cubicBezTo>
                  <a:pt x="85" y="210"/>
                  <a:pt x="85" y="210"/>
                  <a:pt x="85" y="210"/>
                </a:cubicBezTo>
                <a:cubicBezTo>
                  <a:pt x="92" y="214"/>
                  <a:pt x="99" y="217"/>
                  <a:pt x="107" y="219"/>
                </a:cubicBezTo>
                <a:cubicBezTo>
                  <a:pt x="108" y="218"/>
                  <a:pt x="109" y="217"/>
                  <a:pt x="110" y="216"/>
                </a:cubicBezTo>
                <a:cubicBezTo>
                  <a:pt x="117" y="208"/>
                  <a:pt x="129" y="208"/>
                  <a:pt x="137" y="215"/>
                </a:cubicBezTo>
                <a:cubicBezTo>
                  <a:pt x="141" y="220"/>
                  <a:pt x="141" y="220"/>
                  <a:pt x="141" y="220"/>
                </a:cubicBezTo>
                <a:cubicBezTo>
                  <a:pt x="152" y="218"/>
                  <a:pt x="161" y="215"/>
                  <a:pt x="170" y="210"/>
                </a:cubicBezTo>
                <a:cubicBezTo>
                  <a:pt x="168" y="177"/>
                  <a:pt x="168" y="177"/>
                  <a:pt x="168" y="177"/>
                </a:cubicBezTo>
                <a:cubicBezTo>
                  <a:pt x="178" y="177"/>
                  <a:pt x="178" y="177"/>
                  <a:pt x="178" y="177"/>
                </a:cubicBezTo>
                <a:lnTo>
                  <a:pt x="182" y="202"/>
                </a:lnTo>
                <a:close/>
                <a:moveTo>
                  <a:pt x="163" y="80"/>
                </a:moveTo>
                <a:cubicBezTo>
                  <a:pt x="163" y="61"/>
                  <a:pt x="147" y="45"/>
                  <a:pt x="127" y="45"/>
                </a:cubicBezTo>
                <a:cubicBezTo>
                  <a:pt x="108" y="45"/>
                  <a:pt x="92" y="61"/>
                  <a:pt x="92" y="80"/>
                </a:cubicBezTo>
                <a:cubicBezTo>
                  <a:pt x="92" y="100"/>
                  <a:pt x="108" y="115"/>
                  <a:pt x="127" y="115"/>
                </a:cubicBezTo>
                <a:cubicBezTo>
                  <a:pt x="147" y="115"/>
                  <a:pt x="163" y="100"/>
                  <a:pt x="163" y="80"/>
                </a:cubicBezTo>
                <a:close/>
                <a:moveTo>
                  <a:pt x="4" y="64"/>
                </a:moveTo>
                <a:cubicBezTo>
                  <a:pt x="3" y="61"/>
                  <a:pt x="5" y="57"/>
                  <a:pt x="8" y="56"/>
                </a:cubicBezTo>
                <a:cubicBezTo>
                  <a:pt x="11" y="55"/>
                  <a:pt x="15" y="57"/>
                  <a:pt x="17" y="60"/>
                </a:cubicBezTo>
                <a:cubicBezTo>
                  <a:pt x="20" y="72"/>
                  <a:pt x="20" y="72"/>
                  <a:pt x="20" y="72"/>
                </a:cubicBezTo>
                <a:cubicBezTo>
                  <a:pt x="28" y="58"/>
                  <a:pt x="39" y="46"/>
                  <a:pt x="51" y="36"/>
                </a:cubicBezTo>
                <a:cubicBezTo>
                  <a:pt x="96" y="0"/>
                  <a:pt x="158" y="0"/>
                  <a:pt x="203" y="35"/>
                </a:cubicBezTo>
                <a:cubicBezTo>
                  <a:pt x="205" y="38"/>
                  <a:pt x="206" y="42"/>
                  <a:pt x="204" y="44"/>
                </a:cubicBezTo>
                <a:cubicBezTo>
                  <a:pt x="202" y="47"/>
                  <a:pt x="198" y="48"/>
                  <a:pt x="195" y="46"/>
                </a:cubicBezTo>
                <a:cubicBezTo>
                  <a:pt x="155" y="15"/>
                  <a:pt x="99" y="15"/>
                  <a:pt x="59" y="46"/>
                </a:cubicBezTo>
                <a:cubicBezTo>
                  <a:pt x="48" y="55"/>
                  <a:pt x="38" y="67"/>
                  <a:pt x="31" y="79"/>
                </a:cubicBezTo>
                <a:cubicBezTo>
                  <a:pt x="44" y="75"/>
                  <a:pt x="44" y="75"/>
                  <a:pt x="44" y="75"/>
                </a:cubicBezTo>
                <a:cubicBezTo>
                  <a:pt x="48" y="74"/>
                  <a:pt x="51" y="76"/>
                  <a:pt x="52" y="80"/>
                </a:cubicBezTo>
                <a:cubicBezTo>
                  <a:pt x="53" y="83"/>
                  <a:pt x="51" y="87"/>
                  <a:pt x="48" y="88"/>
                </a:cubicBezTo>
                <a:cubicBezTo>
                  <a:pt x="21" y="96"/>
                  <a:pt x="21" y="96"/>
                  <a:pt x="21" y="96"/>
                </a:cubicBezTo>
                <a:cubicBezTo>
                  <a:pt x="21" y="96"/>
                  <a:pt x="20" y="96"/>
                  <a:pt x="19" y="96"/>
                </a:cubicBezTo>
                <a:cubicBezTo>
                  <a:pt x="19" y="96"/>
                  <a:pt x="19" y="96"/>
                  <a:pt x="18" y="96"/>
                </a:cubicBezTo>
                <a:cubicBezTo>
                  <a:pt x="18" y="96"/>
                  <a:pt x="18" y="96"/>
                  <a:pt x="17" y="96"/>
                </a:cubicBezTo>
                <a:cubicBezTo>
                  <a:pt x="17" y="96"/>
                  <a:pt x="17" y="96"/>
                  <a:pt x="17" y="96"/>
                </a:cubicBezTo>
                <a:cubicBezTo>
                  <a:pt x="17" y="95"/>
                  <a:pt x="15" y="95"/>
                  <a:pt x="15" y="95"/>
                </a:cubicBezTo>
                <a:cubicBezTo>
                  <a:pt x="15" y="95"/>
                  <a:pt x="15" y="95"/>
                  <a:pt x="15" y="95"/>
                </a:cubicBezTo>
                <a:cubicBezTo>
                  <a:pt x="15" y="95"/>
                  <a:pt x="15" y="95"/>
                  <a:pt x="14" y="95"/>
                </a:cubicBezTo>
                <a:cubicBezTo>
                  <a:pt x="14" y="94"/>
                  <a:pt x="14" y="94"/>
                  <a:pt x="13" y="94"/>
                </a:cubicBezTo>
                <a:cubicBezTo>
                  <a:pt x="13" y="93"/>
                  <a:pt x="13" y="93"/>
                  <a:pt x="13" y="93"/>
                </a:cubicBezTo>
                <a:cubicBezTo>
                  <a:pt x="12" y="92"/>
                  <a:pt x="12" y="92"/>
                  <a:pt x="12" y="92"/>
                </a:cubicBezTo>
                <a:cubicBezTo>
                  <a:pt x="12" y="92"/>
                  <a:pt x="12" y="92"/>
                  <a:pt x="12" y="91"/>
                </a:cubicBezTo>
                <a:lnTo>
                  <a:pt x="4" y="64"/>
                </a:ln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sp>
        <p:nvSpPr>
          <p:cNvPr id="80" name="TextBox 79">
            <a:extLst>
              <a:ext uri="{FF2B5EF4-FFF2-40B4-BE49-F238E27FC236}">
                <a16:creationId xmlns:a16="http://schemas.microsoft.com/office/drawing/2014/main" id="{7FACF2E3-C10B-4632-862E-62B8B19C98FC}"/>
              </a:ext>
            </a:extLst>
          </p:cNvPr>
          <p:cNvSpPr txBox="1"/>
          <p:nvPr/>
        </p:nvSpPr>
        <p:spPr>
          <a:xfrm>
            <a:off x="552705" y="5806521"/>
            <a:ext cx="906971" cy="184666"/>
          </a:xfrm>
          <a:prstGeom prst="rect">
            <a:avLst/>
          </a:prstGeom>
          <a:noFill/>
        </p:spPr>
        <p:txBody>
          <a:bodyPr wrap="square" lIns="0" tIns="0" rIns="0" bIns="0" rtlCol="0">
            <a:spAutoFit/>
          </a:bodyPr>
          <a:lstStyle/>
          <a:p>
            <a:pPr algn="ctr"/>
            <a:r>
              <a:rPr lang="en-US" sz="1200" b="1">
                <a:solidFill>
                  <a:schemeClr val="tx2"/>
                </a:solidFill>
              </a:rPr>
              <a:t>Governance</a:t>
            </a:r>
          </a:p>
        </p:txBody>
      </p:sp>
      <p:cxnSp>
        <p:nvCxnSpPr>
          <p:cNvPr id="82" name="Straight Arrow Connector 81">
            <a:extLst>
              <a:ext uri="{FF2B5EF4-FFF2-40B4-BE49-F238E27FC236}">
                <a16:creationId xmlns:a16="http://schemas.microsoft.com/office/drawing/2014/main" id="{06644D4B-6761-41DC-BEFE-17EAECE088E5}"/>
              </a:ext>
            </a:extLst>
          </p:cNvPr>
          <p:cNvCxnSpPr>
            <a:cxnSpLocks/>
          </p:cNvCxnSpPr>
          <p:nvPr/>
        </p:nvCxnSpPr>
        <p:spPr>
          <a:xfrm>
            <a:off x="1300176" y="5472853"/>
            <a:ext cx="450185" cy="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87" name="Straight Arrow Connector 86">
            <a:extLst>
              <a:ext uri="{FF2B5EF4-FFF2-40B4-BE49-F238E27FC236}">
                <a16:creationId xmlns:a16="http://schemas.microsoft.com/office/drawing/2014/main" id="{61460927-6BA0-4FD7-8EF2-8710CEB07E58}"/>
              </a:ext>
            </a:extLst>
          </p:cNvPr>
          <p:cNvCxnSpPr>
            <a:cxnSpLocks/>
            <a:endCxn id="74" idx="3"/>
          </p:cNvCxnSpPr>
          <p:nvPr/>
        </p:nvCxnSpPr>
        <p:spPr>
          <a:xfrm flipV="1">
            <a:off x="3486986" y="4712569"/>
            <a:ext cx="582461" cy="279188"/>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88" name="Straight Arrow Connector 87">
            <a:extLst>
              <a:ext uri="{FF2B5EF4-FFF2-40B4-BE49-F238E27FC236}">
                <a16:creationId xmlns:a16="http://schemas.microsoft.com/office/drawing/2014/main" id="{0BBB2A7E-A704-4631-97DE-22F838C39143}"/>
              </a:ext>
            </a:extLst>
          </p:cNvPr>
          <p:cNvCxnSpPr>
            <a:cxnSpLocks/>
            <a:endCxn id="75" idx="5"/>
          </p:cNvCxnSpPr>
          <p:nvPr/>
        </p:nvCxnSpPr>
        <p:spPr>
          <a:xfrm flipH="1" flipV="1">
            <a:off x="1843227" y="4712569"/>
            <a:ext cx="592612" cy="279188"/>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grpSp>
        <p:nvGrpSpPr>
          <p:cNvPr id="150" name="Group 149">
            <a:extLst>
              <a:ext uri="{FF2B5EF4-FFF2-40B4-BE49-F238E27FC236}">
                <a16:creationId xmlns:a16="http://schemas.microsoft.com/office/drawing/2014/main" id="{BB52C84E-B598-4330-992D-62D2F219AAD5}"/>
              </a:ext>
            </a:extLst>
          </p:cNvPr>
          <p:cNvGrpSpPr/>
          <p:nvPr/>
        </p:nvGrpSpPr>
        <p:grpSpPr>
          <a:xfrm>
            <a:off x="3327118" y="1017241"/>
            <a:ext cx="2614109" cy="2174918"/>
            <a:chOff x="370279" y="1142463"/>
            <a:chExt cx="2614109" cy="2174918"/>
          </a:xfrm>
        </p:grpSpPr>
        <p:sp>
          <p:nvSpPr>
            <p:cNvPr id="151" name="Rectangle: Rounded Corners 150">
              <a:extLst>
                <a:ext uri="{FF2B5EF4-FFF2-40B4-BE49-F238E27FC236}">
                  <a16:creationId xmlns:a16="http://schemas.microsoft.com/office/drawing/2014/main" id="{362265E2-6FD2-4518-A49E-124076CDC4AE}"/>
                </a:ext>
              </a:extLst>
            </p:cNvPr>
            <p:cNvSpPr/>
            <p:nvPr/>
          </p:nvSpPr>
          <p:spPr bwMode="gray">
            <a:xfrm>
              <a:off x="2108358" y="1178723"/>
              <a:ext cx="876030" cy="388355"/>
            </a:xfrm>
            <a:prstGeom prst="roundRect">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a:solidFill>
                    <a:schemeClr val="tx2"/>
                  </a:solidFill>
                </a:rPr>
                <a:t>Reference</a:t>
              </a:r>
            </a:p>
            <a:p>
              <a:pPr algn="ctr"/>
              <a:r>
                <a:rPr lang="en-US" sz="900" b="1" dirty="0">
                  <a:solidFill>
                    <a:schemeClr val="tx2"/>
                  </a:solidFill>
                </a:rPr>
                <a:t>Data</a:t>
              </a:r>
            </a:p>
          </p:txBody>
        </p:sp>
        <p:sp>
          <p:nvSpPr>
            <p:cNvPr id="152" name="Oval 151">
              <a:extLst>
                <a:ext uri="{FF2B5EF4-FFF2-40B4-BE49-F238E27FC236}">
                  <a16:creationId xmlns:a16="http://schemas.microsoft.com/office/drawing/2014/main" id="{4A0E57FF-B63F-4ABD-BE47-3262089633DC}"/>
                </a:ext>
              </a:extLst>
            </p:cNvPr>
            <p:cNvSpPr/>
            <p:nvPr/>
          </p:nvSpPr>
          <p:spPr bwMode="gray">
            <a:xfrm>
              <a:off x="370279" y="1163025"/>
              <a:ext cx="1013907" cy="468331"/>
            </a:xfrm>
            <a:prstGeom prst="ellipse">
              <a:avLst/>
            </a:prstGeom>
            <a:ln w="190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a:solidFill>
                    <a:schemeClr val="tx2"/>
                  </a:solidFill>
                </a:rPr>
                <a:t>External </a:t>
              </a:r>
            </a:p>
            <a:p>
              <a:pPr algn="ctr"/>
              <a:r>
                <a:rPr lang="en-US" sz="900" b="1" dirty="0">
                  <a:solidFill>
                    <a:schemeClr val="tx2"/>
                  </a:solidFill>
                </a:rPr>
                <a:t>Data</a:t>
              </a:r>
            </a:p>
          </p:txBody>
        </p:sp>
        <p:cxnSp>
          <p:nvCxnSpPr>
            <p:cNvPr id="153" name="Connector: Elbow 152">
              <a:extLst>
                <a:ext uri="{FF2B5EF4-FFF2-40B4-BE49-F238E27FC236}">
                  <a16:creationId xmlns:a16="http://schemas.microsoft.com/office/drawing/2014/main" id="{CF62DD21-6B13-479A-AB86-BA847621720E}"/>
                </a:ext>
              </a:extLst>
            </p:cNvPr>
            <p:cNvCxnSpPr>
              <a:cxnSpLocks/>
              <a:stCxn id="165" idx="2"/>
              <a:endCxn id="164" idx="1"/>
            </p:cNvCxnSpPr>
            <p:nvPr/>
          </p:nvCxnSpPr>
          <p:spPr>
            <a:xfrm rot="16200000" flipH="1">
              <a:off x="896262" y="2628021"/>
              <a:ext cx="211799" cy="4569"/>
            </a:xfrm>
            <a:prstGeom prst="bentConnector3">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4" name="Straight Arrow Connector 153">
              <a:extLst>
                <a:ext uri="{FF2B5EF4-FFF2-40B4-BE49-F238E27FC236}">
                  <a16:creationId xmlns:a16="http://schemas.microsoft.com/office/drawing/2014/main" id="{9CC4E547-EFBC-41A4-BA74-DA6CEF37B4DA}"/>
                </a:ext>
              </a:extLst>
            </p:cNvPr>
            <p:cNvCxnSpPr>
              <a:cxnSpLocks/>
            </p:cNvCxnSpPr>
            <p:nvPr/>
          </p:nvCxnSpPr>
          <p:spPr>
            <a:xfrm flipH="1">
              <a:off x="636556" y="1615709"/>
              <a:ext cx="2006" cy="55443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5" name="Straight Arrow Connector 154">
              <a:extLst>
                <a:ext uri="{FF2B5EF4-FFF2-40B4-BE49-F238E27FC236}">
                  <a16:creationId xmlns:a16="http://schemas.microsoft.com/office/drawing/2014/main" id="{A288B4CE-A560-4088-84AF-A1CFB05D09C9}"/>
                </a:ext>
              </a:extLst>
            </p:cNvPr>
            <p:cNvCxnSpPr>
              <a:cxnSpLocks/>
              <a:stCxn id="167" idx="0"/>
              <a:endCxn id="166" idx="2"/>
            </p:cNvCxnSpPr>
            <p:nvPr/>
          </p:nvCxnSpPr>
          <p:spPr>
            <a:xfrm flipV="1">
              <a:off x="2133083" y="2524407"/>
              <a:ext cx="0" cy="30159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156" name="Group 155">
              <a:extLst>
                <a:ext uri="{FF2B5EF4-FFF2-40B4-BE49-F238E27FC236}">
                  <a16:creationId xmlns:a16="http://schemas.microsoft.com/office/drawing/2014/main" id="{0C64742B-27AD-4923-8FF7-8C15DDA3E47C}"/>
                </a:ext>
              </a:extLst>
            </p:cNvPr>
            <p:cNvGrpSpPr/>
            <p:nvPr/>
          </p:nvGrpSpPr>
          <p:grpSpPr>
            <a:xfrm>
              <a:off x="370959" y="1801606"/>
              <a:ext cx="2446689" cy="1515775"/>
              <a:chOff x="370959" y="1801606"/>
              <a:chExt cx="2446689" cy="1515775"/>
            </a:xfrm>
          </p:grpSpPr>
          <p:sp>
            <p:nvSpPr>
              <p:cNvPr id="163" name="Rectangle 162">
                <a:extLst>
                  <a:ext uri="{FF2B5EF4-FFF2-40B4-BE49-F238E27FC236}">
                    <a16:creationId xmlns:a16="http://schemas.microsoft.com/office/drawing/2014/main" id="{3D1438FE-1468-4ADE-A468-04C328E95A1A}"/>
                  </a:ext>
                </a:extLst>
              </p:cNvPr>
              <p:cNvSpPr/>
              <p:nvPr/>
            </p:nvSpPr>
            <p:spPr bwMode="gray">
              <a:xfrm>
                <a:off x="370959" y="1801606"/>
                <a:ext cx="2446689" cy="1515775"/>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solidFill>
                    <a:schemeClr val="bg1"/>
                  </a:solidFill>
                </a:endParaRPr>
              </a:p>
            </p:txBody>
          </p:sp>
          <p:sp>
            <p:nvSpPr>
              <p:cNvPr id="164" name="Flowchart: Magnetic Disk 163">
                <a:extLst>
                  <a:ext uri="{FF2B5EF4-FFF2-40B4-BE49-F238E27FC236}">
                    <a16:creationId xmlns:a16="http://schemas.microsoft.com/office/drawing/2014/main" id="{DC134C5A-26A0-4543-AEF7-20B1575FD6D6}"/>
                  </a:ext>
                </a:extLst>
              </p:cNvPr>
              <p:cNvSpPr/>
              <p:nvPr/>
            </p:nvSpPr>
            <p:spPr bwMode="gray">
              <a:xfrm>
                <a:off x="635618" y="2736206"/>
                <a:ext cx="737655" cy="469867"/>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a:solidFill>
                      <a:schemeClr val="bg1"/>
                    </a:solidFill>
                  </a:rPr>
                  <a:t>Raw</a:t>
                </a:r>
              </a:p>
              <a:p>
                <a:pPr algn="ctr"/>
                <a:r>
                  <a:rPr lang="en-US" sz="1000">
                    <a:solidFill>
                      <a:schemeClr val="bg1"/>
                    </a:solidFill>
                  </a:rPr>
                  <a:t>Data</a:t>
                </a:r>
              </a:p>
            </p:txBody>
          </p:sp>
          <p:sp>
            <p:nvSpPr>
              <p:cNvPr id="165" name="Rectangle: Rounded Corners 164">
                <a:extLst>
                  <a:ext uri="{FF2B5EF4-FFF2-40B4-BE49-F238E27FC236}">
                    <a16:creationId xmlns:a16="http://schemas.microsoft.com/office/drawing/2014/main" id="{F8D29E3C-2614-4D2D-B3A4-05E5C15EFB70}"/>
                  </a:ext>
                </a:extLst>
              </p:cNvPr>
              <p:cNvSpPr/>
              <p:nvPr/>
            </p:nvSpPr>
            <p:spPr bwMode="gray">
              <a:xfrm>
                <a:off x="551200" y="2170145"/>
                <a:ext cx="897354" cy="354262"/>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Ingest</a:t>
                </a:r>
              </a:p>
            </p:txBody>
          </p:sp>
          <p:sp>
            <p:nvSpPr>
              <p:cNvPr id="166" name="Rectangle: Rounded Corners 165">
                <a:extLst>
                  <a:ext uri="{FF2B5EF4-FFF2-40B4-BE49-F238E27FC236}">
                    <a16:creationId xmlns:a16="http://schemas.microsoft.com/office/drawing/2014/main" id="{65885DBF-9F0C-4891-9B09-F81A613DEEE0}"/>
                  </a:ext>
                </a:extLst>
              </p:cNvPr>
              <p:cNvSpPr/>
              <p:nvPr/>
            </p:nvSpPr>
            <p:spPr bwMode="gray">
              <a:xfrm>
                <a:off x="1684406" y="2170145"/>
                <a:ext cx="897354" cy="354262"/>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00" dirty="0">
                    <a:solidFill>
                      <a:schemeClr val="bg1"/>
                    </a:solidFill>
                  </a:rPr>
                  <a:t>Curation</a:t>
                </a:r>
              </a:p>
            </p:txBody>
          </p:sp>
          <p:sp>
            <p:nvSpPr>
              <p:cNvPr id="167" name="Rectangle: Rounded Corners 166">
                <a:extLst>
                  <a:ext uri="{FF2B5EF4-FFF2-40B4-BE49-F238E27FC236}">
                    <a16:creationId xmlns:a16="http://schemas.microsoft.com/office/drawing/2014/main" id="{4F3637D5-356B-4B8F-BA8F-1CCA6AEB95BB}"/>
                  </a:ext>
                </a:extLst>
              </p:cNvPr>
              <p:cNvSpPr/>
              <p:nvPr/>
            </p:nvSpPr>
            <p:spPr bwMode="gray">
              <a:xfrm>
                <a:off x="1684406" y="2825997"/>
                <a:ext cx="897354" cy="354262"/>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Rules</a:t>
                </a:r>
              </a:p>
              <a:p>
                <a:pPr algn="ctr"/>
                <a:r>
                  <a:rPr lang="en-US" sz="1000" dirty="0">
                    <a:solidFill>
                      <a:schemeClr val="bg1"/>
                    </a:solidFill>
                  </a:rPr>
                  <a:t>Libraries</a:t>
                </a:r>
              </a:p>
            </p:txBody>
          </p:sp>
          <p:sp>
            <p:nvSpPr>
              <p:cNvPr id="168" name="TextBox 167">
                <a:extLst>
                  <a:ext uri="{FF2B5EF4-FFF2-40B4-BE49-F238E27FC236}">
                    <a16:creationId xmlns:a16="http://schemas.microsoft.com/office/drawing/2014/main" id="{39406B00-93A8-45BD-945C-9AED27E0A73E}"/>
                  </a:ext>
                </a:extLst>
              </p:cNvPr>
              <p:cNvSpPr txBox="1"/>
              <p:nvPr/>
            </p:nvSpPr>
            <p:spPr>
              <a:xfrm>
                <a:off x="698067" y="1861030"/>
                <a:ext cx="1881925" cy="169277"/>
              </a:xfrm>
              <a:prstGeom prst="rect">
                <a:avLst/>
              </a:prstGeom>
              <a:noFill/>
            </p:spPr>
            <p:txBody>
              <a:bodyPr wrap="none" lIns="0" tIns="0" rIns="0" bIns="0" rtlCol="0">
                <a:spAutoFit/>
              </a:bodyPr>
              <a:lstStyle/>
              <a:p>
                <a:r>
                  <a:rPr lang="en-US" sz="1100" b="1" dirty="0">
                    <a:solidFill>
                      <a:schemeClr val="tx2"/>
                    </a:solidFill>
                  </a:rPr>
                  <a:t>Siloed External  Data Intake</a:t>
                </a:r>
              </a:p>
            </p:txBody>
          </p:sp>
        </p:grpSp>
        <p:cxnSp>
          <p:nvCxnSpPr>
            <p:cNvPr id="157" name="Straight Arrow Connector 156">
              <a:extLst>
                <a:ext uri="{FF2B5EF4-FFF2-40B4-BE49-F238E27FC236}">
                  <a16:creationId xmlns:a16="http://schemas.microsoft.com/office/drawing/2014/main" id="{D1D7CC37-D269-4D0D-954A-F51BB77E1049}"/>
                </a:ext>
              </a:extLst>
            </p:cNvPr>
            <p:cNvCxnSpPr>
              <a:cxnSpLocks/>
            </p:cNvCxnSpPr>
            <p:nvPr/>
          </p:nvCxnSpPr>
          <p:spPr>
            <a:xfrm>
              <a:off x="1744211" y="1591560"/>
              <a:ext cx="0" cy="578585"/>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58" name="Straight Arrow Connector 157">
              <a:extLst>
                <a:ext uri="{FF2B5EF4-FFF2-40B4-BE49-F238E27FC236}">
                  <a16:creationId xmlns:a16="http://schemas.microsoft.com/office/drawing/2014/main" id="{1B2D97C1-E39D-4AA6-ABCB-11A7C1850039}"/>
                </a:ext>
              </a:extLst>
            </p:cNvPr>
            <p:cNvCxnSpPr>
              <a:cxnSpLocks/>
              <a:stCxn id="151" idx="2"/>
            </p:cNvCxnSpPr>
            <p:nvPr/>
          </p:nvCxnSpPr>
          <p:spPr>
            <a:xfrm flipH="1">
              <a:off x="2544514" y="1567078"/>
              <a:ext cx="1859" cy="60306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grpSp>
          <p:nvGrpSpPr>
            <p:cNvPr id="159" name="Group 158">
              <a:extLst>
                <a:ext uri="{FF2B5EF4-FFF2-40B4-BE49-F238E27FC236}">
                  <a16:creationId xmlns:a16="http://schemas.microsoft.com/office/drawing/2014/main" id="{D86746B5-70FB-401B-9464-11D1B394AE1D}"/>
                </a:ext>
              </a:extLst>
            </p:cNvPr>
            <p:cNvGrpSpPr/>
            <p:nvPr/>
          </p:nvGrpSpPr>
          <p:grpSpPr>
            <a:xfrm>
              <a:off x="1691560" y="1142463"/>
              <a:ext cx="197486" cy="437182"/>
              <a:chOff x="3427413" y="4927600"/>
              <a:chExt cx="292100" cy="600075"/>
            </a:xfrm>
            <a:solidFill>
              <a:schemeClr val="accent2"/>
            </a:solidFill>
          </p:grpSpPr>
          <p:sp>
            <p:nvSpPr>
              <p:cNvPr id="160" name="Freeform 34">
                <a:extLst>
                  <a:ext uri="{FF2B5EF4-FFF2-40B4-BE49-F238E27FC236}">
                    <a16:creationId xmlns:a16="http://schemas.microsoft.com/office/drawing/2014/main" id="{AF8B4C85-D85C-4B3F-B698-C942A57395B5}"/>
                  </a:ext>
                </a:extLst>
              </p:cNvPr>
              <p:cNvSpPr>
                <a:spLocks/>
              </p:cNvSpPr>
              <p:nvPr/>
            </p:nvSpPr>
            <p:spPr bwMode="auto">
              <a:xfrm>
                <a:off x="3548063" y="5235575"/>
                <a:ext cx="55563" cy="55563"/>
              </a:xfrm>
              <a:custGeom>
                <a:avLst/>
                <a:gdLst>
                  <a:gd name="T0" fmla="*/ 9 w 10"/>
                  <a:gd name="T1" fmla="*/ 8 h 10"/>
                  <a:gd name="T2" fmla="*/ 9 w 10"/>
                  <a:gd name="T3" fmla="*/ 8 h 10"/>
                  <a:gd name="T4" fmla="*/ 9 w 10"/>
                  <a:gd name="T5" fmla="*/ 8 h 10"/>
                  <a:gd name="T6" fmla="*/ 10 w 10"/>
                  <a:gd name="T7" fmla="*/ 7 h 10"/>
                  <a:gd name="T8" fmla="*/ 10 w 10"/>
                  <a:gd name="T9" fmla="*/ 7 h 10"/>
                  <a:gd name="T10" fmla="*/ 10 w 10"/>
                  <a:gd name="T11" fmla="*/ 7 h 10"/>
                  <a:gd name="T12" fmla="*/ 10 w 10"/>
                  <a:gd name="T13" fmla="*/ 4 h 10"/>
                  <a:gd name="T14" fmla="*/ 6 w 10"/>
                  <a:gd name="T15" fmla="*/ 0 h 10"/>
                  <a:gd name="T16" fmla="*/ 3 w 10"/>
                  <a:gd name="T17" fmla="*/ 0 h 10"/>
                  <a:gd name="T18" fmla="*/ 0 w 10"/>
                  <a:gd name="T19" fmla="*/ 4 h 10"/>
                  <a:gd name="T20" fmla="*/ 0 w 10"/>
                  <a:gd name="T21" fmla="*/ 7 h 10"/>
                  <a:gd name="T22" fmla="*/ 0 w 10"/>
                  <a:gd name="T23" fmla="*/ 7 h 10"/>
                  <a:gd name="T24" fmla="*/ 0 w 10"/>
                  <a:gd name="T25" fmla="*/ 7 h 10"/>
                  <a:gd name="T26" fmla="*/ 0 w 10"/>
                  <a:gd name="T27" fmla="*/ 8 h 10"/>
                  <a:gd name="T28" fmla="*/ 0 w 10"/>
                  <a:gd name="T29" fmla="*/ 8 h 10"/>
                  <a:gd name="T30" fmla="*/ 0 w 10"/>
                  <a:gd name="T31" fmla="*/ 8 h 10"/>
                  <a:gd name="T32" fmla="*/ 0 w 10"/>
                  <a:gd name="T33" fmla="*/ 9 h 10"/>
                  <a:gd name="T34" fmla="*/ 0 w 10"/>
                  <a:gd name="T35" fmla="*/ 9 h 10"/>
                  <a:gd name="T36" fmla="*/ 1 w 10"/>
                  <a:gd name="T37" fmla="*/ 9 h 10"/>
                  <a:gd name="T38" fmla="*/ 1 w 10"/>
                  <a:gd name="T39" fmla="*/ 9 h 10"/>
                  <a:gd name="T40" fmla="*/ 1 w 10"/>
                  <a:gd name="T41" fmla="*/ 10 h 10"/>
                  <a:gd name="T42" fmla="*/ 2 w 10"/>
                  <a:gd name="T43" fmla="*/ 10 h 10"/>
                  <a:gd name="T44" fmla="*/ 3 w 10"/>
                  <a:gd name="T45" fmla="*/ 10 h 10"/>
                  <a:gd name="T46" fmla="*/ 3 w 10"/>
                  <a:gd name="T47" fmla="*/ 10 h 10"/>
                  <a:gd name="T48" fmla="*/ 6 w 10"/>
                  <a:gd name="T49" fmla="*/ 10 h 10"/>
                  <a:gd name="T50" fmla="*/ 7 w 10"/>
                  <a:gd name="T51" fmla="*/ 10 h 10"/>
                  <a:gd name="T52" fmla="*/ 8 w 10"/>
                  <a:gd name="T53" fmla="*/ 10 h 10"/>
                  <a:gd name="T54" fmla="*/ 8 w 10"/>
                  <a:gd name="T55" fmla="*/ 10 h 10"/>
                  <a:gd name="T56" fmla="*/ 8 w 10"/>
                  <a:gd name="T57" fmla="*/ 9 h 10"/>
                  <a:gd name="T58" fmla="*/ 8 w 10"/>
                  <a:gd name="T59" fmla="*/ 9 h 10"/>
                  <a:gd name="T60" fmla="*/ 9 w 10"/>
                  <a:gd name="T61" fmla="*/ 9 h 10"/>
                  <a:gd name="T62" fmla="*/ 9 w 10"/>
                  <a:gd name="T63" fmla="*/ 9 h 10"/>
                  <a:gd name="T64" fmla="*/ 9 w 10"/>
                  <a:gd name="T6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0">
                    <a:moveTo>
                      <a:pt x="9" y="8"/>
                    </a:moveTo>
                    <a:cubicBezTo>
                      <a:pt x="9" y="8"/>
                      <a:pt x="9" y="8"/>
                      <a:pt x="9" y="8"/>
                    </a:cubicBezTo>
                    <a:cubicBezTo>
                      <a:pt x="9" y="8"/>
                      <a:pt x="9" y="8"/>
                      <a:pt x="9" y="8"/>
                    </a:cubicBezTo>
                    <a:cubicBezTo>
                      <a:pt x="9" y="8"/>
                      <a:pt x="9" y="8"/>
                      <a:pt x="10" y="7"/>
                    </a:cubicBezTo>
                    <a:cubicBezTo>
                      <a:pt x="10" y="7"/>
                      <a:pt x="10" y="7"/>
                      <a:pt x="10" y="7"/>
                    </a:cubicBezTo>
                    <a:cubicBezTo>
                      <a:pt x="10" y="7"/>
                      <a:pt x="10" y="7"/>
                      <a:pt x="10" y="7"/>
                    </a:cubicBezTo>
                    <a:cubicBezTo>
                      <a:pt x="10" y="4"/>
                      <a:pt x="10" y="4"/>
                      <a:pt x="10" y="4"/>
                    </a:cubicBezTo>
                    <a:cubicBezTo>
                      <a:pt x="10" y="2"/>
                      <a:pt x="8" y="0"/>
                      <a:pt x="6" y="0"/>
                    </a:cubicBezTo>
                    <a:cubicBezTo>
                      <a:pt x="3" y="0"/>
                      <a:pt x="3" y="0"/>
                      <a:pt x="3" y="0"/>
                    </a:cubicBezTo>
                    <a:cubicBezTo>
                      <a:pt x="1" y="0"/>
                      <a:pt x="0" y="2"/>
                      <a:pt x="0" y="4"/>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1" y="9"/>
                      <a:pt x="1" y="9"/>
                      <a:pt x="1" y="9"/>
                    </a:cubicBezTo>
                    <a:cubicBezTo>
                      <a:pt x="1" y="9"/>
                      <a:pt x="1" y="9"/>
                      <a:pt x="1" y="9"/>
                    </a:cubicBezTo>
                    <a:cubicBezTo>
                      <a:pt x="1" y="10"/>
                      <a:pt x="1" y="10"/>
                      <a:pt x="1" y="10"/>
                    </a:cubicBezTo>
                    <a:cubicBezTo>
                      <a:pt x="2" y="10"/>
                      <a:pt x="2" y="10"/>
                      <a:pt x="2" y="10"/>
                    </a:cubicBezTo>
                    <a:cubicBezTo>
                      <a:pt x="2" y="10"/>
                      <a:pt x="2" y="10"/>
                      <a:pt x="3" y="10"/>
                    </a:cubicBezTo>
                    <a:cubicBezTo>
                      <a:pt x="3" y="10"/>
                      <a:pt x="3" y="10"/>
                      <a:pt x="3" y="10"/>
                    </a:cubicBezTo>
                    <a:cubicBezTo>
                      <a:pt x="6" y="10"/>
                      <a:pt x="6" y="10"/>
                      <a:pt x="6" y="10"/>
                    </a:cubicBezTo>
                    <a:cubicBezTo>
                      <a:pt x="6" y="10"/>
                      <a:pt x="6" y="10"/>
                      <a:pt x="7" y="10"/>
                    </a:cubicBezTo>
                    <a:cubicBezTo>
                      <a:pt x="7" y="10"/>
                      <a:pt x="7" y="10"/>
                      <a:pt x="8" y="10"/>
                    </a:cubicBezTo>
                    <a:cubicBezTo>
                      <a:pt x="8" y="10"/>
                      <a:pt x="8" y="10"/>
                      <a:pt x="8" y="10"/>
                    </a:cubicBezTo>
                    <a:cubicBezTo>
                      <a:pt x="8" y="10"/>
                      <a:pt x="8" y="10"/>
                      <a:pt x="8" y="9"/>
                    </a:cubicBezTo>
                    <a:cubicBezTo>
                      <a:pt x="8" y="9"/>
                      <a:pt x="8" y="9"/>
                      <a:pt x="8" y="9"/>
                    </a:cubicBezTo>
                    <a:cubicBezTo>
                      <a:pt x="8" y="9"/>
                      <a:pt x="9" y="9"/>
                      <a:pt x="9" y="9"/>
                    </a:cubicBezTo>
                    <a:cubicBezTo>
                      <a:pt x="9" y="9"/>
                      <a:pt x="9" y="9"/>
                      <a:pt x="9" y="9"/>
                    </a:cubicBezTo>
                    <a:cubicBezTo>
                      <a:pt x="9" y="9"/>
                      <a:pt x="9" y="8"/>
                      <a:pt x="9"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61" name="Oval 35">
                <a:extLst>
                  <a:ext uri="{FF2B5EF4-FFF2-40B4-BE49-F238E27FC236}">
                    <a16:creationId xmlns:a16="http://schemas.microsoft.com/office/drawing/2014/main" id="{D5D50DE2-ECA6-416B-BC76-874FDC822FA1}"/>
                  </a:ext>
                </a:extLst>
              </p:cNvPr>
              <p:cNvSpPr>
                <a:spLocks noChangeArrowheads="1"/>
              </p:cNvSpPr>
              <p:nvPr/>
            </p:nvSpPr>
            <p:spPr bwMode="auto">
              <a:xfrm>
                <a:off x="3427413" y="4927600"/>
                <a:ext cx="292100" cy="29210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162" name="Freeform 36">
                <a:extLst>
                  <a:ext uri="{FF2B5EF4-FFF2-40B4-BE49-F238E27FC236}">
                    <a16:creationId xmlns:a16="http://schemas.microsoft.com/office/drawing/2014/main" id="{C35013FC-DFF5-479B-8F75-5CA371B946FD}"/>
                  </a:ext>
                </a:extLst>
              </p:cNvPr>
              <p:cNvSpPr>
                <a:spLocks noEditPoints="1"/>
              </p:cNvSpPr>
              <p:nvPr/>
            </p:nvSpPr>
            <p:spPr bwMode="auto">
              <a:xfrm>
                <a:off x="3427413" y="5251450"/>
                <a:ext cx="292100" cy="276225"/>
              </a:xfrm>
              <a:custGeom>
                <a:avLst/>
                <a:gdLst>
                  <a:gd name="T0" fmla="*/ 53 w 53"/>
                  <a:gd name="T1" fmla="*/ 21 h 50"/>
                  <a:gd name="T2" fmla="*/ 43 w 53"/>
                  <a:gd name="T3" fmla="*/ 0 h 50"/>
                  <a:gd name="T4" fmla="*/ 30 w 53"/>
                  <a:gd name="T5" fmla="*/ 16 h 50"/>
                  <a:gd name="T6" fmla="*/ 29 w 53"/>
                  <a:gd name="T7" fmla="*/ 9 h 50"/>
                  <a:gd name="T8" fmla="*/ 28 w 53"/>
                  <a:gd name="T9" fmla="*/ 9 h 50"/>
                  <a:gd name="T10" fmla="*/ 25 w 53"/>
                  <a:gd name="T11" fmla="*/ 9 h 50"/>
                  <a:gd name="T12" fmla="*/ 24 w 53"/>
                  <a:gd name="T13" fmla="*/ 9 h 50"/>
                  <a:gd name="T14" fmla="*/ 23 w 53"/>
                  <a:gd name="T15" fmla="*/ 16 h 50"/>
                  <a:gd name="T16" fmla="*/ 10 w 53"/>
                  <a:gd name="T17" fmla="*/ 0 h 50"/>
                  <a:gd name="T18" fmla="*/ 0 w 53"/>
                  <a:gd name="T19" fmla="*/ 21 h 50"/>
                  <a:gd name="T20" fmla="*/ 0 w 53"/>
                  <a:gd name="T21" fmla="*/ 21 h 50"/>
                  <a:gd name="T22" fmla="*/ 0 w 53"/>
                  <a:gd name="T23" fmla="*/ 50 h 50"/>
                  <a:gd name="T24" fmla="*/ 53 w 53"/>
                  <a:gd name="T25" fmla="*/ 50 h 50"/>
                  <a:gd name="T26" fmla="*/ 53 w 53"/>
                  <a:gd name="T27" fmla="*/ 21 h 50"/>
                  <a:gd name="T28" fmla="*/ 47 w 53"/>
                  <a:gd name="T29" fmla="*/ 27 h 50"/>
                  <a:gd name="T30" fmla="*/ 33 w 53"/>
                  <a:gd name="T31" fmla="*/ 27 h 50"/>
                  <a:gd name="T32" fmla="*/ 33 w 53"/>
                  <a:gd name="T33" fmla="*/ 24 h 50"/>
                  <a:gd name="T34" fmla="*/ 47 w 53"/>
                  <a:gd name="T35" fmla="*/ 24 h 50"/>
                  <a:gd name="T36" fmla="*/ 47 w 53"/>
                  <a:gd name="T37" fmla="*/ 26 h 50"/>
                  <a:gd name="T38" fmla="*/ 47 w 53"/>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50">
                    <a:moveTo>
                      <a:pt x="53" y="21"/>
                    </a:moveTo>
                    <a:cubicBezTo>
                      <a:pt x="53" y="12"/>
                      <a:pt x="49" y="5"/>
                      <a:pt x="43" y="0"/>
                    </a:cubicBezTo>
                    <a:cubicBezTo>
                      <a:pt x="30" y="16"/>
                      <a:pt x="30" y="16"/>
                      <a:pt x="30" y="16"/>
                    </a:cubicBezTo>
                    <a:cubicBezTo>
                      <a:pt x="29" y="9"/>
                      <a:pt x="29" y="9"/>
                      <a:pt x="29" y="9"/>
                    </a:cubicBezTo>
                    <a:cubicBezTo>
                      <a:pt x="29" y="9"/>
                      <a:pt x="28" y="9"/>
                      <a:pt x="28" y="9"/>
                    </a:cubicBezTo>
                    <a:cubicBezTo>
                      <a:pt x="25" y="9"/>
                      <a:pt x="25" y="9"/>
                      <a:pt x="25" y="9"/>
                    </a:cubicBezTo>
                    <a:cubicBezTo>
                      <a:pt x="25" y="9"/>
                      <a:pt x="24" y="9"/>
                      <a:pt x="24" y="9"/>
                    </a:cubicBezTo>
                    <a:cubicBezTo>
                      <a:pt x="23" y="16"/>
                      <a:pt x="23" y="16"/>
                      <a:pt x="23" y="16"/>
                    </a:cubicBezTo>
                    <a:cubicBezTo>
                      <a:pt x="10" y="0"/>
                      <a:pt x="10" y="0"/>
                      <a:pt x="10" y="0"/>
                    </a:cubicBezTo>
                    <a:cubicBezTo>
                      <a:pt x="4" y="5"/>
                      <a:pt x="0" y="12"/>
                      <a:pt x="0" y="21"/>
                    </a:cubicBezTo>
                    <a:cubicBezTo>
                      <a:pt x="0" y="21"/>
                      <a:pt x="0" y="21"/>
                      <a:pt x="0" y="21"/>
                    </a:cubicBezTo>
                    <a:cubicBezTo>
                      <a:pt x="0" y="50"/>
                      <a:pt x="0" y="50"/>
                      <a:pt x="0" y="50"/>
                    </a:cubicBezTo>
                    <a:cubicBezTo>
                      <a:pt x="53" y="50"/>
                      <a:pt x="53" y="50"/>
                      <a:pt x="53" y="50"/>
                    </a:cubicBezTo>
                    <a:cubicBezTo>
                      <a:pt x="53" y="21"/>
                      <a:pt x="53" y="21"/>
                      <a:pt x="53" y="21"/>
                    </a:cubicBezTo>
                    <a:close/>
                    <a:moveTo>
                      <a:pt x="47" y="27"/>
                    </a:moveTo>
                    <a:cubicBezTo>
                      <a:pt x="33" y="27"/>
                      <a:pt x="33" y="27"/>
                      <a:pt x="33" y="27"/>
                    </a:cubicBezTo>
                    <a:cubicBezTo>
                      <a:pt x="33" y="24"/>
                      <a:pt x="33" y="24"/>
                      <a:pt x="33" y="24"/>
                    </a:cubicBezTo>
                    <a:cubicBezTo>
                      <a:pt x="47" y="24"/>
                      <a:pt x="47" y="24"/>
                      <a:pt x="47" y="24"/>
                    </a:cubicBezTo>
                    <a:cubicBezTo>
                      <a:pt x="47" y="26"/>
                      <a:pt x="47" y="26"/>
                      <a:pt x="47" y="26"/>
                    </a:cubicBezTo>
                    <a:lnTo>
                      <a:pt x="47" y="27"/>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grpSp>
      <p:cxnSp>
        <p:nvCxnSpPr>
          <p:cNvPr id="90" name="Connector: Elbow 89">
            <a:extLst>
              <a:ext uri="{FF2B5EF4-FFF2-40B4-BE49-F238E27FC236}">
                <a16:creationId xmlns:a16="http://schemas.microsoft.com/office/drawing/2014/main" id="{B62C4502-AC81-4B5C-B201-F71E51274206}"/>
              </a:ext>
            </a:extLst>
          </p:cNvPr>
          <p:cNvCxnSpPr>
            <a:cxnSpLocks/>
          </p:cNvCxnSpPr>
          <p:nvPr/>
        </p:nvCxnSpPr>
        <p:spPr>
          <a:xfrm>
            <a:off x="2847465" y="2353720"/>
            <a:ext cx="4575139" cy="964635"/>
          </a:xfrm>
          <a:prstGeom prst="bentConnector3">
            <a:avLst>
              <a:gd name="adj1" fmla="val 7203"/>
            </a:avLst>
          </a:prstGeom>
          <a:ln w="9525" cmpd="sng">
            <a:solidFill>
              <a:srgbClr val="62626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02BE0E97-73FA-4A31-9000-5AC3BD2B92F3}"/>
              </a:ext>
            </a:extLst>
          </p:cNvPr>
          <p:cNvCxnSpPr>
            <a:cxnSpLocks/>
            <a:stCxn id="163" idx="2"/>
          </p:cNvCxnSpPr>
          <p:nvPr/>
        </p:nvCxnSpPr>
        <p:spPr>
          <a:xfrm>
            <a:off x="4551143" y="3192159"/>
            <a:ext cx="0" cy="92016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01" name="Straight Arrow Connector 100">
            <a:extLst>
              <a:ext uri="{FF2B5EF4-FFF2-40B4-BE49-F238E27FC236}">
                <a16:creationId xmlns:a16="http://schemas.microsoft.com/office/drawing/2014/main" id="{D33917D8-6BE5-48BB-90EF-6A05A36AF7EA}"/>
              </a:ext>
            </a:extLst>
          </p:cNvPr>
          <p:cNvCxnSpPr>
            <a:cxnSpLocks/>
          </p:cNvCxnSpPr>
          <p:nvPr/>
        </p:nvCxnSpPr>
        <p:spPr>
          <a:xfrm>
            <a:off x="1563364" y="3192159"/>
            <a:ext cx="0" cy="920167"/>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91" name="Straight Arrow Connector 90">
            <a:extLst>
              <a:ext uri="{FF2B5EF4-FFF2-40B4-BE49-F238E27FC236}">
                <a16:creationId xmlns:a16="http://schemas.microsoft.com/office/drawing/2014/main" id="{30437041-CAF2-440F-99E0-DC47ABAA9F22}"/>
              </a:ext>
            </a:extLst>
          </p:cNvPr>
          <p:cNvCxnSpPr>
            <a:cxnSpLocks/>
          </p:cNvCxnSpPr>
          <p:nvPr/>
        </p:nvCxnSpPr>
        <p:spPr>
          <a:xfrm flipH="1">
            <a:off x="5347247" y="4501648"/>
            <a:ext cx="2075358"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92" name="Flowchart: Magnetic Disk 91">
            <a:extLst>
              <a:ext uri="{FF2B5EF4-FFF2-40B4-BE49-F238E27FC236}">
                <a16:creationId xmlns:a16="http://schemas.microsoft.com/office/drawing/2014/main" id="{3AFBF715-C602-4E29-AD37-28FEA2115C06}"/>
              </a:ext>
            </a:extLst>
          </p:cNvPr>
          <p:cNvSpPr/>
          <p:nvPr/>
        </p:nvSpPr>
        <p:spPr bwMode="gray">
          <a:xfrm>
            <a:off x="9359472" y="4182589"/>
            <a:ext cx="1122664" cy="585866"/>
          </a:xfrm>
          <a:prstGeom prst="flowChartMagneticDisk">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bg1"/>
                </a:solidFill>
              </a:rPr>
              <a:t>Data</a:t>
            </a:r>
          </a:p>
          <a:p>
            <a:pPr algn="ctr"/>
            <a:r>
              <a:rPr lang="en-US" sz="1200" dirty="0">
                <a:solidFill>
                  <a:schemeClr val="bg1"/>
                </a:solidFill>
              </a:rPr>
              <a:t>Lake</a:t>
            </a:r>
          </a:p>
        </p:txBody>
      </p:sp>
      <p:cxnSp>
        <p:nvCxnSpPr>
          <p:cNvPr id="93" name="Straight Arrow Connector 92">
            <a:extLst>
              <a:ext uri="{FF2B5EF4-FFF2-40B4-BE49-F238E27FC236}">
                <a16:creationId xmlns:a16="http://schemas.microsoft.com/office/drawing/2014/main" id="{E23C542C-A4CE-4942-95F8-AAB87EEAE5AA}"/>
              </a:ext>
            </a:extLst>
          </p:cNvPr>
          <p:cNvCxnSpPr>
            <a:cxnSpLocks/>
            <a:stCxn id="95" idx="3"/>
            <a:endCxn id="92" idx="2"/>
          </p:cNvCxnSpPr>
          <p:nvPr/>
        </p:nvCxnSpPr>
        <p:spPr>
          <a:xfrm>
            <a:off x="8696738" y="4471831"/>
            <a:ext cx="662734" cy="3691"/>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95" name="Rectangle: Rounded Corners 94">
            <a:extLst>
              <a:ext uri="{FF2B5EF4-FFF2-40B4-BE49-F238E27FC236}">
                <a16:creationId xmlns:a16="http://schemas.microsoft.com/office/drawing/2014/main" id="{5D905AEA-C1D3-4B7D-8E5B-8FB0E3E3F549}"/>
              </a:ext>
            </a:extLst>
          </p:cNvPr>
          <p:cNvSpPr/>
          <p:nvPr/>
        </p:nvSpPr>
        <p:spPr bwMode="gray">
          <a:xfrm>
            <a:off x="7422603" y="4250970"/>
            <a:ext cx="1274135" cy="441721"/>
          </a:xfrm>
          <a:prstGeom prst="round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bg1"/>
                </a:solidFill>
              </a:rPr>
              <a:t>Data Lake</a:t>
            </a:r>
          </a:p>
          <a:p>
            <a:pPr algn="ctr"/>
            <a:r>
              <a:rPr lang="en-US" sz="1200" dirty="0">
                <a:solidFill>
                  <a:schemeClr val="bg1"/>
                </a:solidFill>
              </a:rPr>
              <a:t>Ingest Process</a:t>
            </a:r>
          </a:p>
        </p:txBody>
      </p:sp>
      <p:sp>
        <p:nvSpPr>
          <p:cNvPr id="97" name="TextBox 96">
            <a:extLst>
              <a:ext uri="{FF2B5EF4-FFF2-40B4-BE49-F238E27FC236}">
                <a16:creationId xmlns:a16="http://schemas.microsoft.com/office/drawing/2014/main" id="{38641BEB-FDA6-4610-9692-CC7128FF110B}"/>
              </a:ext>
            </a:extLst>
          </p:cNvPr>
          <p:cNvSpPr txBox="1"/>
          <p:nvPr/>
        </p:nvSpPr>
        <p:spPr>
          <a:xfrm>
            <a:off x="6542618" y="6616575"/>
            <a:ext cx="5095947" cy="184666"/>
          </a:xfrm>
          <a:prstGeom prst="rect">
            <a:avLst/>
          </a:prstGeom>
          <a:noFill/>
        </p:spPr>
        <p:txBody>
          <a:bodyPr wrap="none" lIns="0" tIns="0" rIns="0" bIns="0" rtlCol="0">
            <a:spAutoFit/>
          </a:bodyPr>
          <a:lstStyle/>
          <a:p>
            <a:r>
              <a:rPr lang="en-US" sz="1200" dirty="0">
                <a:solidFill>
                  <a:schemeClr val="tx2"/>
                </a:solidFill>
              </a:rPr>
              <a:t>* </a:t>
            </a:r>
            <a:r>
              <a:rPr lang="en-US" sz="1000" dirty="0">
                <a:solidFill>
                  <a:schemeClr val="tx2"/>
                </a:solidFill>
              </a:rPr>
              <a:t>This list is not meant to be exhaustive but only a sample of our 2-3 Data Consumers. </a:t>
            </a:r>
          </a:p>
        </p:txBody>
      </p:sp>
    </p:spTree>
    <p:extLst>
      <p:ext uri="{BB962C8B-B14F-4D97-AF65-F5344CB8AC3E}">
        <p14:creationId xmlns:p14="http://schemas.microsoft.com/office/powerpoint/2010/main" val="7437567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A5F9A-755E-459F-B165-4A609C4DA448}"/>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16D5365B-B602-44AC-9EC5-1FECB96A2A26}"/>
              </a:ext>
            </a:extLst>
          </p:cNvPr>
          <p:cNvSpPr>
            <a:spLocks noGrp="1"/>
          </p:cNvSpPr>
          <p:nvPr>
            <p:ph idx="1"/>
          </p:nvPr>
        </p:nvSpPr>
        <p:spPr/>
        <p:txBody>
          <a:bodyPr/>
          <a:lstStyle/>
          <a:p>
            <a:pPr marL="342900" indent="-342900">
              <a:buFont typeface="+mj-lt"/>
              <a:buAutoNum type="arabicPeriod"/>
            </a:pPr>
            <a:r>
              <a:rPr lang="en-US" dirty="0">
                <a:solidFill>
                  <a:schemeClr val="tx1">
                    <a:lumMod val="75000"/>
                    <a:lumOff val="25000"/>
                  </a:schemeClr>
                </a:solidFill>
              </a:rPr>
              <a:t>Engage with the business and get alignment of the strategy </a:t>
            </a:r>
          </a:p>
          <a:p>
            <a:pPr marL="342900" indent="-342900">
              <a:buFont typeface="+mj-lt"/>
              <a:buAutoNum type="arabicPeriod"/>
            </a:pPr>
            <a:r>
              <a:rPr lang="en-US" dirty="0">
                <a:solidFill>
                  <a:schemeClr val="tx1">
                    <a:lumMod val="75000"/>
                    <a:lumOff val="25000"/>
                  </a:schemeClr>
                </a:solidFill>
              </a:rPr>
              <a:t>Launch a discovery project to size and scope the effort</a:t>
            </a:r>
          </a:p>
          <a:p>
            <a:pPr marL="342900" indent="-342900">
              <a:buFont typeface="+mj-lt"/>
              <a:buAutoNum type="arabicPeriod"/>
            </a:pPr>
            <a:r>
              <a:rPr lang="en-US" dirty="0">
                <a:solidFill>
                  <a:schemeClr val="tx1">
                    <a:lumMod val="75000"/>
                    <a:lumOff val="25000"/>
                  </a:schemeClr>
                </a:solidFill>
              </a:rPr>
              <a:t>Get funding to implement</a:t>
            </a:r>
          </a:p>
          <a:p>
            <a:endParaRPr lang="en-US" dirty="0"/>
          </a:p>
        </p:txBody>
      </p:sp>
    </p:spTree>
    <p:extLst>
      <p:ext uri="{BB962C8B-B14F-4D97-AF65-F5344CB8AC3E}">
        <p14:creationId xmlns:p14="http://schemas.microsoft.com/office/powerpoint/2010/main" val="2585549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TAI Architecture North Star Template with Insructions v2" id="{6A1DA68F-3A77-CB41-B179-AEC04A938B6D}" vid="{0C8790E0-6D20-0849-93CB-BFDAA7E36C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2.xml><?xml version="1.0" encoding="utf-8"?>
<ds:datastoreItem xmlns:ds="http://schemas.openxmlformats.org/officeDocument/2006/customXml" ds:itemID="{22BB4260-8078-4719-BE32-EDFCC0878EF4}"/>
</file>

<file path=customXml/itemProps3.xml><?xml version="1.0" encoding="utf-8"?>
<ds:datastoreItem xmlns:ds="http://schemas.openxmlformats.org/officeDocument/2006/customXml" ds:itemID="{B24F0FD7-590D-477C-84D8-04F64A55F94D}">
  <ds:schemaRefs>
    <ds:schemaRef ds:uri="http://schemas.microsoft.com/office/2006/documentManagement/types"/>
    <ds:schemaRef ds:uri="http://schemas.microsoft.com/office/2006/metadata/properties"/>
    <ds:schemaRef ds:uri="f8f3ac21-d33a-4f17-9d4e-9f9f14b93e81"/>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TAI Architecture North Star Template with Insructions</Template>
  <TotalTime>9548</TotalTime>
  <Words>4450</Words>
  <Application>Microsoft Office PowerPoint</Application>
  <PresentationFormat>Widescreen</PresentationFormat>
  <Paragraphs>1783</Paragraphs>
  <Slides>23</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Arial</vt:lpstr>
      <vt:lpstr>Calibri</vt:lpstr>
      <vt:lpstr>CVS Health Sans</vt:lpstr>
      <vt:lpstr>Lucida Grande</vt:lpstr>
      <vt:lpstr>Open Sans</vt:lpstr>
      <vt:lpstr>Open Sans Light</vt:lpstr>
      <vt:lpstr>Tahoma</vt:lpstr>
      <vt:lpstr>Times New Roman</vt:lpstr>
      <vt:lpstr>CVS_Health_PPT_Everyday_Widescreen_Template</vt:lpstr>
      <vt:lpstr>think-cell Slide</vt:lpstr>
      <vt:lpstr>External Data Index - PoV</vt:lpstr>
      <vt:lpstr>Business Opportunity</vt:lpstr>
      <vt:lpstr>Why is it important to CVS Health?</vt:lpstr>
      <vt:lpstr>Where are we today?</vt:lpstr>
      <vt:lpstr>What does Success look like?</vt:lpstr>
      <vt:lpstr>External Data Index Service vs. Collibra Data Catalog</vt:lpstr>
      <vt:lpstr>CVSH External Data Intake - Current State</vt:lpstr>
      <vt:lpstr>CVSH External Data Intake - Future State</vt:lpstr>
      <vt:lpstr>Next Steps</vt:lpstr>
      <vt:lpstr>Into Action.</vt:lpstr>
      <vt:lpstr>Appendix</vt:lpstr>
      <vt:lpstr>Current: Dispersed external data creates monumental inefficiencies</vt:lpstr>
      <vt:lpstr>Additional Cost Saving Opportunities</vt:lpstr>
      <vt:lpstr>Estimated Savings Calculation Benefit </vt:lpstr>
      <vt:lpstr>Use Case 1 – Medical Records Sample</vt:lpstr>
      <vt:lpstr>Use Case 1 – External Data Index Fields</vt:lpstr>
      <vt:lpstr>Use Case 2 – Pharmacy Claim Sample</vt:lpstr>
      <vt:lpstr>Use Case 2 – External Data Index Fields</vt:lpstr>
      <vt:lpstr>Use Case 3 – Lab Results Sample</vt:lpstr>
      <vt:lpstr>Use Case 3 – External Data Index Fields</vt:lpstr>
      <vt:lpstr>Glossary of Terms</vt:lpstr>
      <vt:lpstr>CVSH External Data Intake - Future State with Data Hub</vt:lpstr>
      <vt:lpstr>CVSH External Data Intake – Future State with Data Hub + ED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North Star</dc:title>
  <dc:creator>Perez Diaz, Karen</dc:creator>
  <cp:lastModifiedBy>Perez Diaz, Karen</cp:lastModifiedBy>
  <cp:revision>1</cp:revision>
  <cp:lastPrinted>2019-07-30T11:49:09Z</cp:lastPrinted>
  <dcterms:created xsi:type="dcterms:W3CDTF">2020-11-20T20:01:29Z</dcterms:created>
  <dcterms:modified xsi:type="dcterms:W3CDTF">2021-04-16T15:1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SetDate">
    <vt:lpwstr>2018-12-11T13:43:06.3238854Z</vt:lpwstr>
  </property>
  <property fmtid="{D5CDD505-2E9C-101B-9397-08002B2CF9AE}" pid="6" name="MSIP_Label_67599526-06ca-49cc-9fa9-5307800a949a_Name">
    <vt:lpwstr>Proprietary</vt:lpwstr>
  </property>
  <property fmtid="{D5CDD505-2E9C-101B-9397-08002B2CF9AE}" pid="7" name="MSIP_Label_67599526-06ca-49cc-9fa9-5307800a949a_Extended_MSFT_Method">
    <vt:lpwstr>Automatic</vt:lpwstr>
  </property>
  <property fmtid="{D5CDD505-2E9C-101B-9397-08002B2CF9AE}" pid="8" name="Sensitivity">
    <vt:lpwstr>Proprietary</vt:lpwstr>
  </property>
  <property fmtid="{D5CDD505-2E9C-101B-9397-08002B2CF9AE}" pid="9" name="UnilyDocumentCategory">
    <vt:lpwstr/>
  </property>
  <property fmtid="{D5CDD505-2E9C-101B-9397-08002B2CF9AE}" pid="10" name="ClassificationContentMarkingFooterLocations">
    <vt:lpwstr>CVS_Health_PPT_Everyday_Widescreen_Template:5</vt:lpwstr>
  </property>
  <property fmtid="{D5CDD505-2E9C-101B-9397-08002B2CF9AE}" pid="11" name="ClassificationContentMarkingFooterText">
    <vt:lpwstr>Proprietary</vt:lpwstr>
  </property>
</Properties>
</file>